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4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6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7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8.xml" ContentType="application/vnd.openxmlformats-officedocument.theme+xml"/>
  <Override PartName="/ppt/slideLayouts/slideLayout23.xml" ContentType="application/vnd.openxmlformats-officedocument.presentationml.slideLayout+xml"/>
  <Override PartName="/ppt/theme/theme9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11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2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3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4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5.xml" ContentType="application/vnd.openxmlformats-officedocument.theme+xml"/>
  <Override PartName="/ppt/slideLayouts/slideLayout134.xml" ContentType="application/vnd.openxmlformats-officedocument.presentationml.slideLayout+xml"/>
  <Override PartName="/ppt/theme/theme16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7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8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20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78" r:id="rId4"/>
    <p:sldMasterId id="2147483788" r:id="rId5"/>
    <p:sldMasterId id="2147483794" r:id="rId6"/>
    <p:sldMasterId id="2147483796" r:id="rId7"/>
    <p:sldMasterId id="2147483920" r:id="rId8"/>
    <p:sldMasterId id="2147483925" r:id="rId9"/>
    <p:sldMasterId id="2147484036" r:id="rId10"/>
    <p:sldMasterId id="2147485604" r:id="rId11"/>
    <p:sldMasterId id="2147486301" r:id="rId12"/>
    <p:sldMasterId id="2147486919" r:id="rId13"/>
    <p:sldMasterId id="2147487216" r:id="rId14"/>
    <p:sldMasterId id="2147487245" r:id="rId15"/>
    <p:sldMasterId id="2147487275" r:id="rId16"/>
    <p:sldMasterId id="2147491588" r:id="rId17"/>
    <p:sldMasterId id="2147491800" r:id="rId18"/>
    <p:sldMasterId id="2147494659" r:id="rId19"/>
    <p:sldMasterId id="2147494662" r:id="rId20"/>
    <p:sldMasterId id="2147494672" r:id="rId21"/>
    <p:sldMasterId id="2147494680" r:id="rId22"/>
    <p:sldMasterId id="2147494687" r:id="rId23"/>
    <p:sldMasterId id="2147494699" r:id="rId24"/>
  </p:sldMasterIdLst>
  <p:notesMasterIdLst>
    <p:notesMasterId r:id="rId32"/>
  </p:notesMasterIdLst>
  <p:handoutMasterIdLst>
    <p:handoutMasterId r:id="rId33"/>
  </p:handoutMasterIdLst>
  <p:sldIdLst>
    <p:sldId id="3243" r:id="rId25"/>
    <p:sldId id="3382" r:id="rId26"/>
    <p:sldId id="3230" r:id="rId27"/>
    <p:sldId id="5292" r:id="rId28"/>
    <p:sldId id="5293" r:id="rId29"/>
    <p:sldId id="5295" r:id="rId30"/>
    <p:sldId id="5294" r:id="rId31"/>
  </p:sldIdLst>
  <p:sldSz cx="9144000" cy="6858000" type="screen4x3"/>
  <p:notesSz cx="7026275" cy="9312275"/>
  <p:embeddedFontLst>
    <p:embeddedFont>
      <p:font typeface="MS PGothic" panose="020B0600070205080204" pitchFamily="34" charset="-128"/>
      <p:regular r:id="rId34"/>
    </p:embeddedFont>
    <p:embeddedFont>
      <p:font typeface="Calibri Light" panose="020F0302020204030204" pitchFamily="34" charset="0"/>
      <p:regular r:id="rId35"/>
      <p:italic r:id="rId36"/>
    </p:embeddedFont>
    <p:embeddedFont>
      <p:font typeface="Calibri" panose="020F0502020204030204" pitchFamily="34" charset="0"/>
      <p:regular r:id="rId37"/>
      <p:bold r:id="rId38"/>
      <p:italic r:id="rId39"/>
      <p:boldItalic r:id="rId40"/>
    </p:embeddedFont>
  </p:embeddedFontLst>
  <p:custDataLst>
    <p:tags r:id="rId41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2">
          <p15:clr>
            <a:srgbClr val="A4A3A4"/>
          </p15:clr>
        </p15:guide>
        <p15:guide id="2" orient="horz" pos="1189">
          <p15:clr>
            <a:srgbClr val="A4A3A4"/>
          </p15:clr>
        </p15:guide>
        <p15:guide id="3" orient="horz" pos="3728">
          <p15:clr>
            <a:srgbClr val="A4A3A4"/>
          </p15:clr>
        </p15:guide>
        <p15:guide id="4" orient="horz" pos="2437">
          <p15:clr>
            <a:srgbClr val="A4A3A4"/>
          </p15:clr>
        </p15:guide>
        <p15:guide id="5" pos="433">
          <p15:clr>
            <a:srgbClr val="A4A3A4"/>
          </p15:clr>
        </p15:guide>
        <p15:guide id="6" pos="53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4">
          <p15:clr>
            <a:srgbClr val="A4A3A4"/>
          </p15:clr>
        </p15:guide>
        <p15:guide id="2" pos="221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vanon, Gad" initials="" lastIdx="2" clrIdx="0"/>
  <p:cmAuthor id="2" name="Schaitkin, Brian" initials="" lastIdx="4" clrIdx="1"/>
  <p:cmAuthor id="3" name="Maselli, Ilaria" initials="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2B5"/>
    <a:srgbClr val="FFFFFF"/>
    <a:srgbClr val="595A5C"/>
    <a:srgbClr val="D81249"/>
    <a:srgbClr val="000000"/>
    <a:srgbClr val="161616"/>
    <a:srgbClr val="77787B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-1644" y="-90"/>
      </p:cViewPr>
      <p:guideLst>
        <p:guide orient="horz" pos="432"/>
        <p:guide orient="horz" pos="1189"/>
        <p:guide orient="horz" pos="3728"/>
        <p:guide orient="horz" pos="2437"/>
        <p:guide pos="433"/>
        <p:guide pos="534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34"/>
        <p:guide pos="221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2.xml"/><Relationship Id="rId39" Type="http://schemas.openxmlformats.org/officeDocument/2006/relationships/font" Target="fonts/font6.fntdata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font" Target="fonts/font1.fntdata"/><Relationship Id="rId42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1.xml"/><Relationship Id="rId33" Type="http://schemas.openxmlformats.org/officeDocument/2006/relationships/handoutMaster" Target="handoutMasters/handoutMaster1.xml"/><Relationship Id="rId38" Type="http://schemas.openxmlformats.org/officeDocument/2006/relationships/font" Target="fonts/font5.fntdata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5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4.xml"/><Relationship Id="rId36" Type="http://schemas.openxmlformats.org/officeDocument/2006/relationships/font" Target="fonts/font3.fntdata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font" Target="fonts/font2.fntdata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6F401E7A-3752-4226-B609-F9848BCD503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4825" cy="465138"/>
          </a:xfrm>
          <a:prstGeom prst="rect">
            <a:avLst/>
          </a:prstGeom>
        </p:spPr>
        <p:txBody>
          <a:bodyPr vert="horz" lIns="93344" tIns="46672" rIns="93344" bIns="46672" rtlCol="0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637E5C1B-6D04-46F8-84CF-44C1D3D51AC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9863" y="0"/>
            <a:ext cx="3044825" cy="465138"/>
          </a:xfrm>
          <a:prstGeom prst="rect">
            <a:avLst/>
          </a:prstGeom>
        </p:spPr>
        <p:txBody>
          <a:bodyPr vert="horz" lIns="93344" tIns="46672" rIns="93344" bIns="46672" rtlCol="0"/>
          <a:lstStyle>
            <a:lvl1pPr algn="r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DB42850-D1CF-430B-9317-0E8BA374FC14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83D8686-5DB4-4C18-9907-D90008A3F7E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5550"/>
            <a:ext cx="3044825" cy="465138"/>
          </a:xfrm>
          <a:prstGeom prst="rect">
            <a:avLst/>
          </a:prstGeom>
        </p:spPr>
        <p:txBody>
          <a:bodyPr vert="horz" lIns="93344" tIns="46672" rIns="93344" bIns="46672" rtlCol="0" anchor="b"/>
          <a:lstStyle>
            <a:lvl1pPr algn="l" eaLnBrk="1" hangingPunct="1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C5E881C-0588-4F00-B8C7-B6F6AA4A9F8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9863" y="8845550"/>
            <a:ext cx="3044825" cy="465138"/>
          </a:xfrm>
          <a:prstGeom prst="rect">
            <a:avLst/>
          </a:prstGeom>
        </p:spPr>
        <p:txBody>
          <a:bodyPr vert="horz" wrap="square" lIns="93344" tIns="46672" rIns="93344" bIns="46672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43C0A0D8-DB8B-425E-8B68-9C4F5C4942D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146341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314249AF-4AF9-4CD5-901E-B5B708CE83C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4825" cy="465138"/>
          </a:xfrm>
          <a:prstGeom prst="rect">
            <a:avLst/>
          </a:prstGeom>
        </p:spPr>
        <p:txBody>
          <a:bodyPr vert="horz" lIns="93344" tIns="46672" rIns="93344" bIns="4667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05124419-8BA1-46E7-B214-6A792BCFF783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9863" y="0"/>
            <a:ext cx="3044825" cy="465138"/>
          </a:xfrm>
          <a:prstGeom prst="rect">
            <a:avLst/>
          </a:prstGeom>
        </p:spPr>
        <p:txBody>
          <a:bodyPr vert="horz" lIns="93344" tIns="46672" rIns="93344" bIns="46672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8815FDF-32F7-4902-A564-EEDBDB351971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xmlns="" id="{C664D901-FF0F-4C5D-A914-A32077FBBE1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85863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44" tIns="46672" rIns="93344" bIns="46672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xmlns="" id="{DE9B4BD4-B7BC-4DE9-8A0A-7CF55EA0F4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3263" y="4424363"/>
            <a:ext cx="5619750" cy="4189412"/>
          </a:xfrm>
          <a:prstGeom prst="rect">
            <a:avLst/>
          </a:prstGeom>
        </p:spPr>
        <p:txBody>
          <a:bodyPr vert="horz" lIns="93344" tIns="46672" rIns="93344" bIns="46672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A95D4D9-A095-4CF2-AAD2-B570C05DE0B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5550"/>
            <a:ext cx="3044825" cy="465138"/>
          </a:xfrm>
          <a:prstGeom prst="rect">
            <a:avLst/>
          </a:prstGeom>
        </p:spPr>
        <p:txBody>
          <a:bodyPr vert="horz" lIns="93344" tIns="46672" rIns="93344" bIns="4667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F0CEA44-65A8-419A-87C2-8DAE3578E6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9863" y="8845550"/>
            <a:ext cx="3044825" cy="465138"/>
          </a:xfrm>
          <a:prstGeom prst="rect">
            <a:avLst/>
          </a:prstGeom>
        </p:spPr>
        <p:txBody>
          <a:bodyPr vert="horz" wrap="square" lIns="93344" tIns="46672" rIns="93344" bIns="46672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87ACFBD9-CF50-4088-AB2F-C9177FFC267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00756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Slide Image Placeholder 1">
            <a:extLst>
              <a:ext uri="{FF2B5EF4-FFF2-40B4-BE49-F238E27FC236}">
                <a16:creationId xmlns:a16="http://schemas.microsoft.com/office/drawing/2014/main" xmlns="" id="{5C88BF75-B6AA-49D0-9479-2482C7615FE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3907" name="Notes Placeholder 2">
            <a:extLst>
              <a:ext uri="{FF2B5EF4-FFF2-40B4-BE49-F238E27FC236}">
                <a16:creationId xmlns:a16="http://schemas.microsoft.com/office/drawing/2014/main" xmlns="" id="{95A9351C-A7AC-4042-B229-582DB5D005B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/>
              <a:t>The Conference Board Economics Watch title slide</a:t>
            </a:r>
          </a:p>
        </p:txBody>
      </p:sp>
      <p:sp>
        <p:nvSpPr>
          <p:cNvPr id="123908" name="Slide Number Placeholder 3">
            <a:extLst>
              <a:ext uri="{FF2B5EF4-FFF2-40B4-BE49-F238E27FC236}">
                <a16:creationId xmlns:a16="http://schemas.microsoft.com/office/drawing/2014/main" xmlns="" id="{E9EA1E57-A399-4BD5-98FE-A0125C49300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8C157A91-B8C6-4734-8630-34373EA9BD20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1</a:t>
            </a:fld>
            <a:endParaRPr lang="en-US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Slide Image Placeholder 1">
            <a:extLst>
              <a:ext uri="{FF2B5EF4-FFF2-40B4-BE49-F238E27FC236}">
                <a16:creationId xmlns:a16="http://schemas.microsoft.com/office/drawing/2014/main" xmlns="" id="{97939C23-8030-4641-995E-05118F91C10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4387" name="Notes Placeholder 2">
            <a:extLst>
              <a:ext uri="{FF2B5EF4-FFF2-40B4-BE49-F238E27FC236}">
                <a16:creationId xmlns:a16="http://schemas.microsoft.com/office/drawing/2014/main" xmlns="" id="{2F9976D2-9CAD-4E0A-9431-F8DB032A4A4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144388" name="Slide Number Placeholder 3">
            <a:extLst>
              <a:ext uri="{FF2B5EF4-FFF2-40B4-BE49-F238E27FC236}">
                <a16:creationId xmlns:a16="http://schemas.microsoft.com/office/drawing/2014/main" xmlns="" id="{F9B02A60-74C0-4369-8B6C-CB66AB04A2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14375" indent="-2730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00138" indent="-2174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39875" indent="-2174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981200" indent="-2174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38400" indent="-2174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95600" indent="-2174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52800" indent="-2174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10000" indent="-2174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9986284-2537-4FED-820C-A6D427A7EDD8}" type="slidenum">
              <a:rPr lang="en-US" altLang="en-US" sz="1300" smtClean="0"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2</a:t>
            </a:fld>
            <a:endParaRPr lang="en-US" altLang="en-US" sz="1300">
              <a:ea typeface="MS PGothic" panose="020B0600070205080204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Slide Image Placeholder 1">
            <a:extLst>
              <a:ext uri="{FF2B5EF4-FFF2-40B4-BE49-F238E27FC236}">
                <a16:creationId xmlns:a16="http://schemas.microsoft.com/office/drawing/2014/main" xmlns="" id="{9F4D75ED-2E08-4C92-851E-DEFB9D3FC73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1251" name="Notes Placeholder 2">
            <a:extLst>
              <a:ext uri="{FF2B5EF4-FFF2-40B4-BE49-F238E27FC236}">
                <a16:creationId xmlns:a16="http://schemas.microsoft.com/office/drawing/2014/main" xmlns="" id="{2FFDF399-F572-40DA-83FC-471C14554DE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181252" name="Slide Number Placeholder 3">
            <a:extLst>
              <a:ext uri="{FF2B5EF4-FFF2-40B4-BE49-F238E27FC236}">
                <a16:creationId xmlns:a16="http://schemas.microsoft.com/office/drawing/2014/main" xmlns="" id="{833F247B-BC9C-48A9-BF79-FC86488F17C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C514ACF-3622-41F4-B1A1-69789F4DE342}" type="slidenum">
              <a:rPr lang="en-US" altLang="en-US" smtClean="0">
                <a:latin typeface="Calibri" panose="020F0502020204030204" pitchFamily="34" charset="0"/>
              </a:rPr>
              <a:pPr/>
              <a:t>3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4" name="Slide Image Placeholder 1">
            <a:extLst>
              <a:ext uri="{FF2B5EF4-FFF2-40B4-BE49-F238E27FC236}">
                <a16:creationId xmlns:a16="http://schemas.microsoft.com/office/drawing/2014/main" xmlns="" id="{79B6E0A3-7574-4EBA-B7FF-814A8F2A223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7635" name="Notes Placeholder 2">
            <a:extLst>
              <a:ext uri="{FF2B5EF4-FFF2-40B4-BE49-F238E27FC236}">
                <a16:creationId xmlns:a16="http://schemas.microsoft.com/office/drawing/2014/main" xmlns="" id="{151138D3-A69E-49F5-8705-23D7FF7E73D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197636" name="Slide Number Placeholder 3">
            <a:extLst>
              <a:ext uri="{FF2B5EF4-FFF2-40B4-BE49-F238E27FC236}">
                <a16:creationId xmlns:a16="http://schemas.microsoft.com/office/drawing/2014/main" xmlns="" id="{4242933C-D11B-4F5F-99B8-4808006771D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F78AFFD-A40F-4706-8272-5518B4592EAD}" type="slidenum">
              <a:rPr lang="en-US" altLang="en-US" smtClean="0">
                <a:latin typeface="Calibri" panose="020F0502020204030204" pitchFamily="34" charset="0"/>
              </a:rPr>
              <a:pPr/>
              <a:t>4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0452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4" name="Slide Image Placeholder 1">
            <a:extLst>
              <a:ext uri="{FF2B5EF4-FFF2-40B4-BE49-F238E27FC236}">
                <a16:creationId xmlns:a16="http://schemas.microsoft.com/office/drawing/2014/main" xmlns="" id="{79B6E0A3-7574-4EBA-B7FF-814A8F2A223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7635" name="Notes Placeholder 2">
            <a:extLst>
              <a:ext uri="{FF2B5EF4-FFF2-40B4-BE49-F238E27FC236}">
                <a16:creationId xmlns:a16="http://schemas.microsoft.com/office/drawing/2014/main" xmlns="" id="{151138D3-A69E-49F5-8705-23D7FF7E73D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197636" name="Slide Number Placeholder 3">
            <a:extLst>
              <a:ext uri="{FF2B5EF4-FFF2-40B4-BE49-F238E27FC236}">
                <a16:creationId xmlns:a16="http://schemas.microsoft.com/office/drawing/2014/main" xmlns="" id="{4242933C-D11B-4F5F-99B8-4808006771D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4F78AFFD-A40F-4706-8272-5518B4592EAD}" type="slidenum">
              <a:rPr lang="en-US" altLang="en-US" smtClean="0">
                <a:latin typeface="Calibri" panose="020F0502020204030204" pitchFamily="34" charset="0"/>
              </a:rPr>
              <a:pPr/>
              <a:t>5</a:t>
            </a:fld>
            <a:endParaRPr lang="en-US" altLang="en-US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127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Slide Image Placeholder 1">
            <a:extLst>
              <a:ext uri="{FF2B5EF4-FFF2-40B4-BE49-F238E27FC236}">
                <a16:creationId xmlns:a16="http://schemas.microsoft.com/office/drawing/2014/main" xmlns="" id="{97939C23-8030-4641-995E-05118F91C10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4387" name="Notes Placeholder 2">
            <a:extLst>
              <a:ext uri="{FF2B5EF4-FFF2-40B4-BE49-F238E27FC236}">
                <a16:creationId xmlns:a16="http://schemas.microsoft.com/office/drawing/2014/main" xmlns="" id="{2F9976D2-9CAD-4E0A-9431-F8DB032A4A4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144388" name="Slide Number Placeholder 3">
            <a:extLst>
              <a:ext uri="{FF2B5EF4-FFF2-40B4-BE49-F238E27FC236}">
                <a16:creationId xmlns:a16="http://schemas.microsoft.com/office/drawing/2014/main" xmlns="" id="{F9B02A60-74C0-4369-8B6C-CB66AB04A2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14375" indent="-2730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00138" indent="-2174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39875" indent="-2174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981200" indent="-217488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38400" indent="-2174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895600" indent="-2174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52800" indent="-2174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10000" indent="-2174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39986284-2537-4FED-820C-A6D427A7EDD8}" type="slidenum">
              <a:rPr lang="en-US" altLang="en-US" sz="1300" smtClean="0">
                <a:ea typeface="MS PGothic" panose="020B0600070205080204" pitchFamily="34" charset="-128"/>
              </a:rPr>
              <a:pPr>
                <a:spcBef>
                  <a:spcPct val="0"/>
                </a:spcBef>
              </a:pPr>
              <a:t>6</a:t>
            </a:fld>
            <a:endParaRPr lang="en-US" altLang="en-US" sz="130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80395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xmlns="" id="{A98F8507-1528-4AFE-8E0E-FA207B3E7C6D}"/>
              </a:ext>
            </a:extLst>
          </p:cNvPr>
          <p:cNvGrpSpPr>
            <a:grpSpLocks/>
          </p:cNvGrpSpPr>
          <p:nvPr/>
        </p:nvGrpSpPr>
        <p:grpSpPr bwMode="auto">
          <a:xfrm>
            <a:off x="674688" y="676275"/>
            <a:ext cx="7793037" cy="5254625"/>
            <a:chOff x="685800" y="685799"/>
            <a:chExt cx="7793039" cy="5254628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xmlns="" id="{D2FFF9D5-22A5-4D2C-862B-D29BCA2590AA}"/>
                </a:ext>
              </a:extLst>
            </p:cNvPr>
            <p:cNvCxnSpPr/>
            <p:nvPr/>
          </p:nvCxnSpPr>
          <p:spPr>
            <a:xfrm>
              <a:off x="685800" y="685799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xmlns="" id="{AD5EF3EC-392A-4BD8-9441-4FB42B8A8723}"/>
                </a:ext>
              </a:extLst>
            </p:cNvPr>
            <p:cNvCxnSpPr/>
            <p:nvPr/>
          </p:nvCxnSpPr>
          <p:spPr>
            <a:xfrm>
              <a:off x="685800" y="1897063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11CA29F4-306D-4FFF-8947-6FCC0D71FCB3}"/>
                </a:ext>
              </a:extLst>
            </p:cNvPr>
            <p:cNvCxnSpPr/>
            <p:nvPr/>
          </p:nvCxnSpPr>
          <p:spPr>
            <a:xfrm>
              <a:off x="685800" y="5916615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4EAB819A-AAFD-42CD-9391-58DAA4937CE5}"/>
                </a:ext>
              </a:extLst>
            </p:cNvPr>
            <p:cNvCxnSpPr/>
            <p:nvPr/>
          </p:nvCxnSpPr>
          <p:spPr>
            <a:xfrm rot="5400000" flipH="1" flipV="1">
              <a:off x="5851524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7F563668-9EE3-4B30-8FA4-C2E0BA05718C}"/>
                </a:ext>
              </a:extLst>
            </p:cNvPr>
            <p:cNvCxnSpPr/>
            <p:nvPr/>
          </p:nvCxnSpPr>
          <p:spPr>
            <a:xfrm rot="5400000" flipH="1" flipV="1">
              <a:off x="-1941515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710917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809942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Text -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4D2DFE67-8710-424B-8F55-49852600EBC0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Box 18">
            <a:extLst>
              <a:ext uri="{FF2B5EF4-FFF2-40B4-BE49-F238E27FC236}">
                <a16:creationId xmlns:a16="http://schemas.microsoft.com/office/drawing/2014/main" xmlns="" id="{22EEFA9D-7972-4F3C-9C1F-45B03E9D1EB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01D4E0DB-4A6D-464D-9E87-3513590F1C2A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1900" y="1655444"/>
            <a:ext cx="3689350" cy="4397693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1728788"/>
            <a:ext cx="4514850" cy="432435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903823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/ Titl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FD24397-C976-4635-8170-F5BA5FCEA462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Box 18">
            <a:extLst>
              <a:ext uri="{FF2B5EF4-FFF2-40B4-BE49-F238E27FC236}">
                <a16:creationId xmlns:a16="http://schemas.microsoft.com/office/drawing/2014/main" xmlns="" id="{4F6181F3-DA12-4636-976D-C7D9340CBA6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2E4241AC-3FEB-416E-93AF-1E516D790B79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728788"/>
            <a:ext cx="9144000" cy="432435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94" y="552450"/>
            <a:ext cx="8352156" cy="102100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79094" y="1794739"/>
            <a:ext cx="8318500" cy="1395412"/>
          </a:xfrm>
        </p:spPr>
        <p:txBody>
          <a:bodyPr/>
          <a:lstStyle>
            <a:lvl1pPr>
              <a:defRPr sz="32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995481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C8EADDAE-170A-485E-889A-7AC54287EA0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42075" y="6229350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089DE665-01CB-4F9B-A575-07C384EEA452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Course Name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728788"/>
            <a:ext cx="9144000" cy="5129212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84048" y="1792224"/>
            <a:ext cx="8318500" cy="1395412"/>
          </a:xfrm>
        </p:spPr>
        <p:txBody>
          <a:bodyPr/>
          <a:lstStyle>
            <a:lvl1pPr>
              <a:defRPr sz="32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247104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sz="4000" spc="0" baseline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907557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rgbClr val="0E4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7108BD81-87BB-47CE-9121-B7321CA754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E65B53CF-BEEF-4C62-A330-259BA4B716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163" y="4240213"/>
            <a:ext cx="7208837" cy="261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24875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A865D3B7-26CD-44C3-9C09-FD81B393BF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502649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en">
    <p:bg>
      <p:bgPr>
        <a:solidFill>
          <a:srgbClr val="40A0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70FF1338-FE74-4C57-9A24-F01A68CA4BF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60BEB528-D03F-4672-9BD5-E2F71D60CC1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163" y="4240213"/>
            <a:ext cx="7208837" cy="261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910646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Orange">
    <p:bg>
      <p:bgPr>
        <a:solidFill>
          <a:srgbClr val="F183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FF06AD19-19BC-4B05-847B-0860B51F37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246652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Purple">
    <p:bg>
      <p:bgPr>
        <a:solidFill>
          <a:srgbClr val="4942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42C31D77-6284-4D3D-BDA8-8F160EA8F4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6367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A30F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C13B4C65-9757-4FE0-91E1-95C68194EB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589874AB-0B88-4D92-AF6A-FCF7C2943BB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163" y="4240213"/>
            <a:ext cx="7208837" cy="261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556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758404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rgbClr val="4547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DFC4886D-5741-4A34-A729-5C05995061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A4362398-D2F6-41C5-8BC2-BB05EC0B44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8813" y="920750"/>
            <a:ext cx="5945187" cy="593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286878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xmlns="" id="{2C0165AB-33B7-4D65-A588-2665E995C1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xmlns="" id="{D4A44593-44F1-4901-B820-5DD3B49391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889375" y="2746375"/>
            <a:ext cx="1365250" cy="136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477766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8">
            <a:extLst>
              <a:ext uri="{FF2B5EF4-FFF2-40B4-BE49-F238E27FC236}">
                <a16:creationId xmlns:a16="http://schemas.microsoft.com/office/drawing/2014/main" xmlns="" id="{3A66435F-31B4-49C4-8658-D5311F97F4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42075" y="6229350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defRPr/>
            </a:pPr>
            <a:fld id="{08BBBFEB-A2AC-4E14-AA6A-87F75329F9DA}" type="slidenum">
              <a:rPr lang="en-US" altLang="en-US" sz="900" smtClean="0">
                <a:solidFill>
                  <a:srgbClr val="1E4191"/>
                </a:solidFill>
                <a:latin typeface="GE Inspira Pitch"/>
              </a:rPr>
              <a:pPr algn="r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1E4191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1E4191"/>
                </a:solidFill>
                <a:latin typeface="GE Inspira Pitch"/>
              </a:rPr>
              <a:t>Building Essential Leadership Skills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1E4191"/>
                </a:solidFill>
                <a:latin typeface="GE Inspira Pitch"/>
              </a:rPr>
              <a:t>© General Electric 2014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28C777CC-269E-455C-A298-597405D02C4F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8567BD9E-0718-41A6-B1E5-20ACA6F4D7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F84303A7-5CD8-47FF-BA62-2CD3C35B0839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2900" y="280988"/>
            <a:ext cx="8459788" cy="9985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92228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2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GEMeatball&amp;Tag">
            <a:extLst>
              <a:ext uri="{FF2B5EF4-FFF2-40B4-BE49-F238E27FC236}">
                <a16:creationId xmlns:a16="http://schemas.microsoft.com/office/drawing/2014/main" xmlns="" id="{823921A5-FB74-45BC-9990-289DE98AC1D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19088" y="6088063"/>
            <a:ext cx="160813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800" y="280800"/>
            <a:ext cx="8460000" cy="997200"/>
          </a:xfrm>
        </p:spPr>
        <p:txBody>
          <a:bodyPr/>
          <a:lstStyle>
            <a:lvl1pPr algn="l">
              <a:defRPr sz="40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2800" y="1391067"/>
            <a:ext cx="8460000" cy="99720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039581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1F959C60-A642-4A25-BC77-D16C92A828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xmlns="" id="{261E903C-49EF-4D7F-878F-9AEFE70EE1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538" y="5773738"/>
            <a:ext cx="1689100" cy="81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53244" y="1122363"/>
            <a:ext cx="6858000" cy="2387600"/>
          </a:xfrm>
        </p:spPr>
        <p:txBody>
          <a:bodyPr anchor="b"/>
          <a:lstStyle>
            <a:lvl1pPr algn="ctr">
              <a:defRPr sz="4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53244" y="3602038"/>
            <a:ext cx="6858000" cy="16557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116915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16F4252B-A08E-4B7F-9FF2-EF516DAE2C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63625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EF8F30CF-807B-4B00-9898-A8940BDC2C13}"/>
              </a:ext>
            </a:extLst>
          </p:cNvPr>
          <p:cNvCxnSpPr/>
          <p:nvPr userDrawn="1"/>
        </p:nvCxnSpPr>
        <p:spPr>
          <a:xfrm>
            <a:off x="1384300" y="1712913"/>
            <a:ext cx="7131050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4068" y="365126"/>
            <a:ext cx="7131282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84068" y="1825625"/>
            <a:ext cx="7131282" cy="435133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4830860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>
            <a:extLst>
              <a:ext uri="{FF2B5EF4-FFF2-40B4-BE49-F238E27FC236}">
                <a16:creationId xmlns:a16="http://schemas.microsoft.com/office/drawing/2014/main" xmlns="" id="{F1A55053-B59E-4D5E-88D1-5E5081B785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63625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30236" y="279949"/>
            <a:ext cx="5585114" cy="3893040"/>
          </a:xfrm>
        </p:spPr>
        <p:txBody>
          <a:bodyPr anchor="b"/>
          <a:lstStyle>
            <a:lvl1pPr>
              <a:defRPr sz="45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777581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xmlns="" id="{83810BF9-FD31-4A11-9B23-52846D27D5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63625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F8B9C810-BCE6-4006-ABD2-AAC5F69C0E3E}"/>
              </a:ext>
            </a:extLst>
          </p:cNvPr>
          <p:cNvCxnSpPr/>
          <p:nvPr userDrawn="1"/>
        </p:nvCxnSpPr>
        <p:spPr>
          <a:xfrm>
            <a:off x="1384300" y="1712913"/>
            <a:ext cx="7131050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384069" y="1013518"/>
            <a:ext cx="7131281" cy="69890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1384068" y="2474018"/>
            <a:ext cx="3130782" cy="3580217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712422"/>
            <a:ext cx="3886200" cy="4341812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4pPr>
            <a:lvl5pPr>
              <a:defRPr>
                <a:solidFill>
                  <a:schemeClr val="bg1">
                    <a:lumMod val="50000"/>
                  </a:schemeClr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233489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3BD6342C-E586-45DE-A6C4-FFC94AC332D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63625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9625" y="987425"/>
            <a:ext cx="2419394" cy="3119062"/>
          </a:xfrm>
        </p:spPr>
        <p:txBody>
          <a:bodyPr anchor="b">
            <a:normAutofit/>
          </a:bodyPr>
          <a:lstStyle>
            <a:lvl1pPr>
              <a:defRPr sz="3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B6AE17A-A68B-4E44-B77B-C0D5C8664F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A107CE-7B57-43C9-BD51-1C5D5E908D48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04ADEF6-0A10-4472-993E-C645A3E7C2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11C593C-91C8-4EDC-AD0E-B8FFBDCBD3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10D0D-03EC-486C-8959-0838862126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66976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xmlns="" id="{9251D189-440B-44AB-BC52-BF09429011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AEFC09-532D-4069-A3A0-C1F1A0C2EEC5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2A786EEA-41C0-42E6-84EA-A7F535B7F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73CAC883-57C9-4BA9-9C73-23316B9CDC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2E54D2-89EB-4D12-8167-4186940B1E7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3422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C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840ED122-0390-4BAD-A87C-88DD6D2565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888" y="392113"/>
            <a:ext cx="326866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55764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xmlns="" id="{41F4FA52-BA72-4B01-AB24-EAAAD46709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F0FE34-3813-41E1-BB76-62A59076C6DD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671F5172-C8AE-4531-B053-E3E50F360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2C61E601-EBF3-40FA-8C88-278996D537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6430C7-FB3E-41BB-A39B-8A7F15AA0A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2583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xmlns="" id="{A8376B52-ADD3-45D1-83F8-46200FC76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1E4147-ED49-429F-B91B-F7092B923945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xmlns="" id="{00AFEE7D-6B5D-465D-82EA-A231234AE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B4168CEC-6765-4266-AFD7-547D55DAD7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E5C3E9-3028-43BB-B06D-1B95903B48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75269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33FF3DF0-D763-4B79-8806-6EE9F1F566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E9BFD1-692E-4B8B-9AD5-06792C868934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43F69D34-DC8A-4FF6-BB7B-7756B4D1D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5A79A0B1-76F9-446F-89A2-8A14900F0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2242C-BD4E-4577-9C22-BC159EEA91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42325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F03E71A-0A37-4940-A007-16F658755D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80FB54-F8F9-4474-9408-2601A064B470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951DCD7-321A-4C75-93A4-54478772BF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626115B-84AB-41AE-AE64-FC8ABCF25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A00378-C874-4FC0-8C29-194191605A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02282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30CC1BD-7FF2-4F77-8F7D-B5E9714BA4FD}"/>
              </a:ext>
            </a:extLst>
          </p:cNvPr>
          <p:cNvSpPr/>
          <p:nvPr userDrawn="1"/>
        </p:nvSpPr>
        <p:spPr>
          <a:xfrm>
            <a:off x="0" y="-149225"/>
            <a:ext cx="9239250" cy="700722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xmlns="" id="{FDC9AD6A-5E1F-48FF-9578-2F071BE36D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538" y="5768975"/>
            <a:ext cx="1693862" cy="8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1143000" y="1138988"/>
            <a:ext cx="6858000" cy="2387600"/>
          </a:xfrm>
        </p:spPr>
        <p:txBody>
          <a:bodyPr anchor="b"/>
          <a:lstStyle>
            <a:lvl1pPr algn="ctr">
              <a:defRPr sz="45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143000" y="3618663"/>
            <a:ext cx="6858000" cy="16557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+mj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6777204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 Op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>
            <a:extLst>
              <a:ext uri="{FF2B5EF4-FFF2-40B4-BE49-F238E27FC236}">
                <a16:creationId xmlns:a16="http://schemas.microsoft.com/office/drawing/2014/main" xmlns="" id="{977E247E-8A9F-4EFB-B2A8-6A27BDEA99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88" y="304800"/>
            <a:ext cx="3273425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>
            <a:extLst>
              <a:ext uri="{FF2B5EF4-FFF2-40B4-BE49-F238E27FC236}">
                <a16:creationId xmlns:a16="http://schemas.microsoft.com/office/drawing/2014/main" xmlns="" id="{D56D623D-56EE-4B87-8C08-5BA0FCB73A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38425"/>
            <a:ext cx="9144000" cy="212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640504" y="4982407"/>
            <a:ext cx="5792449" cy="59924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640504" y="5550599"/>
            <a:ext cx="5792449" cy="69951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4922925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>
            <a:extLst>
              <a:ext uri="{FF2B5EF4-FFF2-40B4-BE49-F238E27FC236}">
                <a16:creationId xmlns:a16="http://schemas.microsoft.com/office/drawing/2014/main" xmlns="" id="{C50AB28C-B814-4C05-850E-0C495E0DAE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0563" y="0"/>
            <a:ext cx="718343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>
            <a:extLst>
              <a:ext uri="{FF2B5EF4-FFF2-40B4-BE49-F238E27FC236}">
                <a16:creationId xmlns:a16="http://schemas.microsoft.com/office/drawing/2014/main" xmlns="" id="{43D49E7A-0766-4F08-9059-6B56DDD05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963" y="515938"/>
            <a:ext cx="3938587" cy="71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075749" y="4475664"/>
            <a:ext cx="6568205" cy="941917"/>
          </a:xfrm>
        </p:spPr>
        <p:txBody>
          <a:bodyPr/>
          <a:lstStyle>
            <a:lvl1pPr marL="0" indent="0">
              <a:buNone/>
              <a:defRPr sz="1800" baseline="0">
                <a:solidFill>
                  <a:srgbClr val="003E7E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idx="4294967295"/>
          </p:nvPr>
        </p:nvSpPr>
        <p:spPr>
          <a:xfrm>
            <a:off x="1075749" y="2161120"/>
            <a:ext cx="7352583" cy="256963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18627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Page Op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>
            <a:extLst>
              <a:ext uri="{FF2B5EF4-FFF2-40B4-BE49-F238E27FC236}">
                <a16:creationId xmlns:a16="http://schemas.microsoft.com/office/drawing/2014/main" xmlns="" id="{187ACEAE-00AA-4241-9F08-2735094F1B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888" y="304800"/>
            <a:ext cx="3273425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>
            <a:extLst>
              <a:ext uri="{FF2B5EF4-FFF2-40B4-BE49-F238E27FC236}">
                <a16:creationId xmlns:a16="http://schemas.microsoft.com/office/drawing/2014/main" xmlns="" id="{1FA508F8-B8BC-44BC-B4A8-AFD9E8A6A4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938" y="1019175"/>
            <a:ext cx="4224337" cy="422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640504" y="5316647"/>
            <a:ext cx="5792449" cy="59924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640504" y="5884839"/>
            <a:ext cx="5792449" cy="599249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16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0722363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baseline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E5E6F2C-3529-43A0-96E9-90A1F1015E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6EFB18-FE05-4655-BE01-7873D7BACD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DE80F45-3734-4964-9C72-6DA5AC592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7 NeuroLeadership Institute   |</a:t>
            </a:r>
          </a:p>
        </p:txBody>
      </p:sp>
    </p:spTree>
    <p:extLst>
      <p:ext uri="{BB962C8B-B14F-4D97-AF65-F5344CB8AC3E}">
        <p14:creationId xmlns:p14="http://schemas.microsoft.com/office/powerpoint/2010/main" val="204516659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2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59109"/>
            <a:ext cx="4020615" cy="4525963"/>
          </a:xfrm>
        </p:spPr>
        <p:txBody>
          <a:bodyPr/>
          <a:lstStyle>
            <a:lvl3pPr>
              <a:defRPr baseline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4698207" y="1459109"/>
            <a:ext cx="4020615" cy="4525963"/>
          </a:xfrm>
        </p:spPr>
        <p:txBody>
          <a:bodyPr/>
          <a:lstStyle>
            <a:lvl3pPr>
              <a:defRPr baseline="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xmlns="" id="{07051EE6-31A1-4FD7-80D3-A089F2C7C6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6427B0-AED6-4CD4-9A11-E888813052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AC33CA2B-24E4-4A9F-B000-406A54DD3DA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7 NeuroLeadership Institute   |</a:t>
            </a:r>
          </a:p>
        </p:txBody>
      </p:sp>
    </p:spTree>
    <p:extLst>
      <p:ext uri="{BB962C8B-B14F-4D97-AF65-F5344CB8AC3E}">
        <p14:creationId xmlns:p14="http://schemas.microsoft.com/office/powerpoint/2010/main" val="11122331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626533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N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>
            <a:extLst>
              <a:ext uri="{FF2B5EF4-FFF2-40B4-BE49-F238E27FC236}">
                <a16:creationId xmlns:a16="http://schemas.microsoft.com/office/drawing/2014/main" xmlns="" id="{61B62875-2413-449A-858F-94F510B02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329363"/>
            <a:ext cx="1846263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xmlns="" id="{818A3464-131D-4EE8-A44A-18FB7E8F5B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800">
                <a:latin typeface="Arial"/>
              </a:defRPr>
            </a:lvl1pPr>
          </a:lstStyle>
          <a:p>
            <a:pPr>
              <a:defRPr/>
            </a:pPr>
            <a:fld id="{07D5C4B8-A7C9-4BF0-BB9E-A4799BAE27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8E165D0B-CFD4-476F-9497-047FB18484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 sz="800">
                <a:latin typeface="Arial"/>
              </a:defRPr>
            </a:lvl1pPr>
          </a:lstStyle>
          <a:p>
            <a:pPr>
              <a:defRPr/>
            </a:pPr>
            <a:r>
              <a:rPr lang="en-US"/>
              <a:t>© 2017 NeuroLeadership Institute   |</a:t>
            </a:r>
          </a:p>
        </p:txBody>
      </p:sp>
    </p:spTree>
    <p:extLst>
      <p:ext uri="{BB962C8B-B14F-4D97-AF65-F5344CB8AC3E}">
        <p14:creationId xmlns:p14="http://schemas.microsoft.com/office/powerpoint/2010/main" val="171871214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441772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/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>
            <a:extLst>
              <a:ext uri="{FF2B5EF4-FFF2-40B4-BE49-F238E27FC236}">
                <a16:creationId xmlns:a16="http://schemas.microsoft.com/office/drawing/2014/main" xmlns="" id="{1FE39CAA-8A51-4903-A25E-5AA35775DB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7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1">
            <a:extLst>
              <a:ext uri="{FF2B5EF4-FFF2-40B4-BE49-F238E27FC236}">
                <a16:creationId xmlns:a16="http://schemas.microsoft.com/office/drawing/2014/main" xmlns="" id="{1EC324C2-F405-432D-A24D-B0C0DEAC6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329363"/>
            <a:ext cx="1846263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Placeholder 1"/>
          <p:cNvSpPr>
            <a:spLocks noGrp="1"/>
          </p:cNvSpPr>
          <p:nvPr>
            <p:ph type="ctrTitle"/>
          </p:nvPr>
        </p:nvSpPr>
        <p:spPr>
          <a:xfrm>
            <a:off x="756875" y="2707705"/>
            <a:ext cx="6929064" cy="1276352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spcAft>
                <a:spcPts val="600"/>
              </a:spcAft>
              <a:defRPr sz="3600" b="0" i="0" cap="all" baseline="0">
                <a:solidFill>
                  <a:schemeClr val="accent2"/>
                </a:solidFill>
                <a:latin typeface="Calibri Light"/>
                <a:cs typeface="Calibri Ligh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xmlns="" id="{1BBF15C1-096A-4AA8-9E04-90578FCF28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800">
                <a:latin typeface="Arial"/>
              </a:defRPr>
            </a:lvl1pPr>
          </a:lstStyle>
          <a:p>
            <a:pPr>
              <a:defRPr/>
            </a:pPr>
            <a:fld id="{D40F81D0-66AF-4622-8F7D-1663283720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E5F1F3C3-3B05-4F2C-93EF-62C05A2D74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 sz="800">
                <a:latin typeface="Arial"/>
              </a:defRPr>
            </a:lvl1pPr>
          </a:lstStyle>
          <a:p>
            <a:pPr>
              <a:defRPr/>
            </a:pPr>
            <a:r>
              <a:rPr lang="en-US"/>
              <a:t>© 2017 NeuroLeadership Institute   |</a:t>
            </a:r>
          </a:p>
        </p:txBody>
      </p:sp>
    </p:spTree>
    <p:extLst>
      <p:ext uri="{BB962C8B-B14F-4D97-AF65-F5344CB8AC3E}">
        <p14:creationId xmlns:p14="http://schemas.microsoft.com/office/powerpoint/2010/main" val="85262941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xmlns="" id="{0733997C-DDB7-44C7-B96F-263BF8D7682D}"/>
              </a:ext>
            </a:extLst>
          </p:cNvPr>
          <p:cNvSpPr txBox="1">
            <a:spLocks noChangeArrowheads="1"/>
          </p:cNvSpPr>
          <p:nvPr/>
        </p:nvSpPr>
        <p:spPr>
          <a:xfrm>
            <a:off x="1700213" y="4229100"/>
            <a:ext cx="5640387" cy="779463"/>
          </a:xfrm>
          <a:prstGeom prst="rect">
            <a:avLst/>
          </a:prstGeom>
        </p:spPr>
        <p:txBody>
          <a:bodyPr anchor="ctr"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000">
                <a:latin typeface="+mn-lt"/>
                <a:ea typeface="ＭＳ Ｐゴシック" charset="0"/>
                <a:cs typeface="Arial"/>
              </a:rPr>
              <a:t>Thank you.</a:t>
            </a:r>
          </a:p>
        </p:txBody>
      </p:sp>
      <p:pic>
        <p:nvPicPr>
          <p:cNvPr id="3" name="image6.pdf">
            <a:extLst>
              <a:ext uri="{FF2B5EF4-FFF2-40B4-BE49-F238E27FC236}">
                <a16:creationId xmlns:a16="http://schemas.microsoft.com/office/drawing/2014/main" xmlns="" id="{18B5987F-86CA-4773-8E69-DD960C09E854}"/>
              </a:ext>
            </a:extLst>
          </p:cNvPr>
          <p:cNvPicPr/>
          <p:nvPr/>
        </p:nvPicPr>
        <p:blipFill>
          <a:blip r:embed="rId2">
            <a:duotone>
              <a:prstClr val="black"/>
              <a:srgbClr val="41445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3268185" y="1736176"/>
            <a:ext cx="2617839" cy="2412512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Picture 12">
            <a:extLst>
              <a:ext uri="{FF2B5EF4-FFF2-40B4-BE49-F238E27FC236}">
                <a16:creationId xmlns:a16="http://schemas.microsoft.com/office/drawing/2014/main" xmlns="" id="{6661B596-89AB-4383-9018-F9DE5B6446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167438"/>
            <a:ext cx="2732088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73902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>
            <a:extLst>
              <a:ext uri="{FF2B5EF4-FFF2-40B4-BE49-F238E27FC236}">
                <a16:creationId xmlns:a16="http://schemas.microsoft.com/office/drawing/2014/main" xmlns="" id="{5B7C3C22-468C-4638-A48B-DDD76FBC65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888" y="392113"/>
            <a:ext cx="326866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919500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xmlns="" id="{06E8F298-CC34-459D-83BB-D9B9A82FC5C4}"/>
              </a:ext>
            </a:extLst>
          </p:cNvPr>
          <p:cNvGrpSpPr>
            <a:grpSpLocks/>
          </p:cNvGrpSpPr>
          <p:nvPr/>
        </p:nvGrpSpPr>
        <p:grpSpPr bwMode="auto">
          <a:xfrm>
            <a:off x="674688" y="676275"/>
            <a:ext cx="7793037" cy="5254625"/>
            <a:chOff x="685800" y="685799"/>
            <a:chExt cx="7793039" cy="5254628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xmlns="" id="{49250CCA-6680-4155-BC4F-8232F025FA8D}"/>
                </a:ext>
              </a:extLst>
            </p:cNvPr>
            <p:cNvCxnSpPr/>
            <p:nvPr/>
          </p:nvCxnSpPr>
          <p:spPr>
            <a:xfrm>
              <a:off x="685800" y="685799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xmlns="" id="{8044D2FA-2412-4736-A239-1C0FEF8C3D3C}"/>
                </a:ext>
              </a:extLst>
            </p:cNvPr>
            <p:cNvCxnSpPr/>
            <p:nvPr/>
          </p:nvCxnSpPr>
          <p:spPr>
            <a:xfrm>
              <a:off x="685800" y="1897063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23FB2A14-D2D2-4C8C-85A7-A171F4B49168}"/>
                </a:ext>
              </a:extLst>
            </p:cNvPr>
            <p:cNvCxnSpPr/>
            <p:nvPr/>
          </p:nvCxnSpPr>
          <p:spPr>
            <a:xfrm>
              <a:off x="685800" y="5916615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4696C7A3-4D8E-4017-BF9A-6F993814D018}"/>
                </a:ext>
              </a:extLst>
            </p:cNvPr>
            <p:cNvCxnSpPr/>
            <p:nvPr/>
          </p:nvCxnSpPr>
          <p:spPr>
            <a:xfrm rot="5400000" flipH="1" flipV="1">
              <a:off x="5851524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72866C46-740F-4273-A410-8DFCCFCAB344}"/>
                </a:ext>
              </a:extLst>
            </p:cNvPr>
            <p:cNvCxnSpPr/>
            <p:nvPr/>
          </p:nvCxnSpPr>
          <p:spPr>
            <a:xfrm rot="5400000" flipH="1" flipV="1">
              <a:off x="-1941515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653163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B Bulle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587375"/>
            <a:ext cx="8013700" cy="836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731634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386823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CB Bulle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587375"/>
            <a:ext cx="8013700" cy="836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3887787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idx="10"/>
          </p:nvPr>
        </p:nvSpPr>
        <p:spPr bwMode="auto">
          <a:xfrm>
            <a:off x="4699000" y="1887537"/>
            <a:ext cx="3790950" cy="4030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8962627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9325" y="1812925"/>
            <a:ext cx="7029450" cy="14033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5085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CB Bulle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186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xmlns="" id="{02E2E328-2C9A-4B89-B64D-C281F3ECF92E}"/>
              </a:ext>
            </a:extLst>
          </p:cNvPr>
          <p:cNvGrpSpPr>
            <a:grpSpLocks/>
          </p:cNvGrpSpPr>
          <p:nvPr/>
        </p:nvGrpSpPr>
        <p:grpSpPr bwMode="auto">
          <a:xfrm>
            <a:off x="674688" y="676275"/>
            <a:ext cx="7793037" cy="5254625"/>
            <a:chOff x="685800" y="685799"/>
            <a:chExt cx="7793039" cy="5254628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xmlns="" id="{B532EE2F-C61B-45FF-8AB4-E5DCE52CE5DD}"/>
                </a:ext>
              </a:extLst>
            </p:cNvPr>
            <p:cNvCxnSpPr/>
            <p:nvPr/>
          </p:nvCxnSpPr>
          <p:spPr>
            <a:xfrm>
              <a:off x="685800" y="685799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xmlns="" id="{B92B2497-E5CC-48C7-B510-DF9D1A5D72E7}"/>
                </a:ext>
              </a:extLst>
            </p:cNvPr>
            <p:cNvCxnSpPr/>
            <p:nvPr/>
          </p:nvCxnSpPr>
          <p:spPr>
            <a:xfrm>
              <a:off x="685800" y="1897063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3D5BDCBD-768D-43AB-869E-9C019D1AD968}"/>
                </a:ext>
              </a:extLst>
            </p:cNvPr>
            <p:cNvCxnSpPr/>
            <p:nvPr/>
          </p:nvCxnSpPr>
          <p:spPr>
            <a:xfrm>
              <a:off x="685800" y="5916615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84C82CC0-B0D5-4804-9BA7-072077CDE4C0}"/>
                </a:ext>
              </a:extLst>
            </p:cNvPr>
            <p:cNvCxnSpPr/>
            <p:nvPr/>
          </p:nvCxnSpPr>
          <p:spPr>
            <a:xfrm rot="5400000" flipH="1" flipV="1">
              <a:off x="5851524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4E05B78B-B2A0-4ADD-A04B-C8551E8A3C84}"/>
                </a:ext>
              </a:extLst>
            </p:cNvPr>
            <p:cNvCxnSpPr/>
            <p:nvPr/>
          </p:nvCxnSpPr>
          <p:spPr>
            <a:xfrm rot="5400000" flipH="1" flipV="1">
              <a:off x="-1941515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4601937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B Bulle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585496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8838695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2626985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CB Bulle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3887787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idx="10"/>
          </p:nvPr>
        </p:nvSpPr>
        <p:spPr bwMode="auto">
          <a:xfrm>
            <a:off x="4699000" y="1887537"/>
            <a:ext cx="3790950" cy="4030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82600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xmlns="" id="{56BACF60-7C61-4532-BECA-78017E7E2BBD}"/>
              </a:ext>
            </a:extLst>
          </p:cNvPr>
          <p:cNvGrpSpPr>
            <a:grpSpLocks/>
          </p:cNvGrpSpPr>
          <p:nvPr/>
        </p:nvGrpSpPr>
        <p:grpSpPr bwMode="auto">
          <a:xfrm>
            <a:off x="674688" y="676275"/>
            <a:ext cx="7793037" cy="5254625"/>
            <a:chOff x="685800" y="685799"/>
            <a:chExt cx="7793039" cy="5254628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xmlns="" id="{30A766E3-16BF-471E-B28A-9253F4E2BE69}"/>
                </a:ext>
              </a:extLst>
            </p:cNvPr>
            <p:cNvCxnSpPr/>
            <p:nvPr/>
          </p:nvCxnSpPr>
          <p:spPr>
            <a:xfrm>
              <a:off x="685800" y="685799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xmlns="" id="{0CFC705D-F018-4D54-8A9D-D1FB03ED7A61}"/>
                </a:ext>
              </a:extLst>
            </p:cNvPr>
            <p:cNvCxnSpPr/>
            <p:nvPr/>
          </p:nvCxnSpPr>
          <p:spPr>
            <a:xfrm>
              <a:off x="685800" y="1897063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FE61B4A9-9364-4777-AFDD-020F8321ED28}"/>
                </a:ext>
              </a:extLst>
            </p:cNvPr>
            <p:cNvCxnSpPr/>
            <p:nvPr/>
          </p:nvCxnSpPr>
          <p:spPr>
            <a:xfrm>
              <a:off x="685800" y="5916615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7BC69DB8-0200-429C-AE74-02F9B84BB3D6}"/>
                </a:ext>
              </a:extLst>
            </p:cNvPr>
            <p:cNvCxnSpPr/>
            <p:nvPr/>
          </p:nvCxnSpPr>
          <p:spPr>
            <a:xfrm rot="5400000" flipH="1" flipV="1">
              <a:off x="5851524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3DF8AAD9-483D-4BA6-B09E-3F64211BE00E}"/>
                </a:ext>
              </a:extLst>
            </p:cNvPr>
            <p:cNvCxnSpPr/>
            <p:nvPr/>
          </p:nvCxnSpPr>
          <p:spPr>
            <a:xfrm rot="5400000" flipH="1" flipV="1">
              <a:off x="-1941515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9877347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B Bulle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8456350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7725449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859450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CB Bulle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3887787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idx="10"/>
          </p:nvPr>
        </p:nvSpPr>
        <p:spPr bwMode="auto">
          <a:xfrm>
            <a:off x="4699000" y="1887537"/>
            <a:ext cx="3790950" cy="4030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23008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210116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C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xmlns="" id="{19E2C3A6-6212-4B5F-89B2-436B556941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088" y="249238"/>
            <a:ext cx="340677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359398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xmlns="" id="{6E957ABC-1721-4AF3-9697-F30479214885}"/>
              </a:ext>
            </a:extLst>
          </p:cNvPr>
          <p:cNvGrpSpPr>
            <a:grpSpLocks/>
          </p:cNvGrpSpPr>
          <p:nvPr/>
        </p:nvGrpSpPr>
        <p:grpSpPr bwMode="auto">
          <a:xfrm>
            <a:off x="674688" y="676275"/>
            <a:ext cx="7793037" cy="5254625"/>
            <a:chOff x="685800" y="685799"/>
            <a:chExt cx="7793039" cy="5254628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xmlns="" id="{FBD8EFB6-63FD-4CD1-8603-9F418104B04E}"/>
                </a:ext>
              </a:extLst>
            </p:cNvPr>
            <p:cNvCxnSpPr/>
            <p:nvPr/>
          </p:nvCxnSpPr>
          <p:spPr>
            <a:xfrm>
              <a:off x="685800" y="685799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xmlns="" id="{35BA612B-DB29-4CF5-B84F-FDC2CD2199D2}"/>
                </a:ext>
              </a:extLst>
            </p:cNvPr>
            <p:cNvCxnSpPr/>
            <p:nvPr/>
          </p:nvCxnSpPr>
          <p:spPr>
            <a:xfrm>
              <a:off x="685800" y="1897063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700B9B04-CD88-4245-9EEE-BEA662C2EC0A}"/>
                </a:ext>
              </a:extLst>
            </p:cNvPr>
            <p:cNvCxnSpPr/>
            <p:nvPr/>
          </p:nvCxnSpPr>
          <p:spPr>
            <a:xfrm>
              <a:off x="685800" y="5916615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05715C7E-F02B-483D-AEF1-C3C600A6B89E}"/>
                </a:ext>
              </a:extLst>
            </p:cNvPr>
            <p:cNvCxnSpPr/>
            <p:nvPr/>
          </p:nvCxnSpPr>
          <p:spPr>
            <a:xfrm rot="5400000" flipH="1" flipV="1">
              <a:off x="5851524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96A8E65C-5D8E-487E-BA24-50FD7AC77518}"/>
                </a:ext>
              </a:extLst>
            </p:cNvPr>
            <p:cNvCxnSpPr/>
            <p:nvPr/>
          </p:nvCxnSpPr>
          <p:spPr>
            <a:xfrm rot="5400000" flipH="1" flipV="1">
              <a:off x="-1941515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0372583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B Bulle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6065396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5768383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CB Bulle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3887787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idx="10"/>
          </p:nvPr>
        </p:nvSpPr>
        <p:spPr bwMode="auto">
          <a:xfrm>
            <a:off x="4699000" y="1887537"/>
            <a:ext cx="3790950" cy="4030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904712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C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>
            <a:extLst>
              <a:ext uri="{FF2B5EF4-FFF2-40B4-BE49-F238E27FC236}">
                <a16:creationId xmlns:a16="http://schemas.microsoft.com/office/drawing/2014/main" xmlns="" id="{2DE6650C-F46F-4967-8158-D19FD50DE2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088" y="249238"/>
            <a:ext cx="340677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5200882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xmlns="" id="{7D72E36C-1C0D-48FE-AF26-C418D95191F2}"/>
              </a:ext>
            </a:extLst>
          </p:cNvPr>
          <p:cNvGrpSpPr>
            <a:grpSpLocks/>
          </p:cNvGrpSpPr>
          <p:nvPr/>
        </p:nvGrpSpPr>
        <p:grpSpPr bwMode="auto">
          <a:xfrm>
            <a:off x="674688" y="676275"/>
            <a:ext cx="7793037" cy="5254625"/>
            <a:chOff x="685800" y="685799"/>
            <a:chExt cx="7793039" cy="5254628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xmlns="" id="{7C11B59F-277E-405F-AFAD-6D0720AFD73B}"/>
                </a:ext>
              </a:extLst>
            </p:cNvPr>
            <p:cNvCxnSpPr/>
            <p:nvPr/>
          </p:nvCxnSpPr>
          <p:spPr>
            <a:xfrm>
              <a:off x="685800" y="685799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xmlns="" id="{BEC9687D-ECA7-4081-8367-FB4475C85700}"/>
                </a:ext>
              </a:extLst>
            </p:cNvPr>
            <p:cNvCxnSpPr/>
            <p:nvPr/>
          </p:nvCxnSpPr>
          <p:spPr>
            <a:xfrm>
              <a:off x="685800" y="1897063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2B55122F-8820-4667-9E1D-3CE0FC073E2D}"/>
                </a:ext>
              </a:extLst>
            </p:cNvPr>
            <p:cNvCxnSpPr/>
            <p:nvPr/>
          </p:nvCxnSpPr>
          <p:spPr>
            <a:xfrm>
              <a:off x="685800" y="5916615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3A6336DB-F0A6-4DB7-9289-C7A3568D895A}"/>
                </a:ext>
              </a:extLst>
            </p:cNvPr>
            <p:cNvCxnSpPr/>
            <p:nvPr/>
          </p:nvCxnSpPr>
          <p:spPr>
            <a:xfrm rot="5400000" flipH="1" flipV="1">
              <a:off x="5851524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A66BAAA8-2216-460B-8FEB-3CA1C2DE4ACF}"/>
                </a:ext>
              </a:extLst>
            </p:cNvPr>
            <p:cNvCxnSpPr/>
            <p:nvPr/>
          </p:nvCxnSpPr>
          <p:spPr>
            <a:xfrm rot="5400000" flipH="1" flipV="1">
              <a:off x="-1941515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347418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B Bulle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587375"/>
            <a:ext cx="8013700" cy="836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34205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4171408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CB Bulle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587375"/>
            <a:ext cx="8013700" cy="8366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3887787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idx="10"/>
          </p:nvPr>
        </p:nvSpPr>
        <p:spPr bwMode="auto">
          <a:xfrm>
            <a:off x="4699000" y="1887537"/>
            <a:ext cx="3790950" cy="4030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1784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C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418FBCDA-A799-48CA-90F7-90D3760DC5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888" y="392113"/>
            <a:ext cx="326866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219989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400049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459560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C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9">
            <a:extLst>
              <a:ext uri="{FF2B5EF4-FFF2-40B4-BE49-F238E27FC236}">
                <a16:creationId xmlns:a16="http://schemas.microsoft.com/office/drawing/2014/main" xmlns="" id="{E6D6B6FE-CB53-4F05-88EB-14770B354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888" y="392113"/>
            <a:ext cx="326866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86203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B Bulle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81763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53260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C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>
            <a:extLst>
              <a:ext uri="{FF2B5EF4-FFF2-40B4-BE49-F238E27FC236}">
                <a16:creationId xmlns:a16="http://schemas.microsoft.com/office/drawing/2014/main" xmlns="" id="{64B2478C-96C9-4260-8633-7A9BB61933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1675" y="250825"/>
            <a:ext cx="2890838" cy="51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182095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996049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92343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xmlns="" id="{94234F03-2C4A-4180-A940-EBEA72A35309}"/>
              </a:ext>
            </a:extLst>
          </p:cNvPr>
          <p:cNvSpPr>
            <a:spLocks noChangeArrowheads="1"/>
          </p:cNvSpPr>
          <p:nvPr/>
        </p:nvSpPr>
        <p:spPr bwMode="invGray">
          <a:xfrm>
            <a:off x="0" y="809625"/>
            <a:ext cx="9144000" cy="5495925"/>
          </a:xfrm>
          <a:prstGeom prst="rect">
            <a:avLst/>
          </a:prstGeom>
          <a:gradFill rotWithShape="1">
            <a:gsLst>
              <a:gs pos="0">
                <a:srgbClr val="00549F"/>
              </a:gs>
              <a:gs pos="100000">
                <a:srgbClr val="0C2D83"/>
              </a:gs>
            </a:gsLst>
            <a:lin ang="0" scaled="1"/>
          </a:gradFill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>
              <a:solidFill>
                <a:srgbClr val="1E1E1E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5" name="Text Box 21">
            <a:extLst>
              <a:ext uri="{FF2B5EF4-FFF2-40B4-BE49-F238E27FC236}">
                <a16:creationId xmlns:a16="http://schemas.microsoft.com/office/drawing/2014/main" xmlns="" id="{42A76B66-B2FC-4072-9562-3518EC46EA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8513" y="6546850"/>
            <a:ext cx="3619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1100">
                <a:solidFill>
                  <a:srgbClr val="1E1E1E"/>
                </a:solidFill>
                <a:latin typeface="Calibri" pitchFamily="34" charset="0"/>
                <a:ea typeface="ＭＳ Ｐゴシック" pitchFamily="-80" charset="-128"/>
              </a:defRPr>
            </a:lvl1pPr>
            <a:lvl2pPr marL="37931725" indent="-37474525" eaLnBrk="0" hangingPunct="0">
              <a:defRPr sz="2400">
                <a:latin typeface="Arial" charset="0"/>
                <a:ea typeface="ＭＳ Ｐゴシック" pitchFamily="-80" charset="-128"/>
              </a:defRPr>
            </a:lvl2pPr>
            <a:lvl3pPr eaLnBrk="0" hangingPunct="0">
              <a:defRPr sz="2400">
                <a:latin typeface="Arial" charset="0"/>
                <a:ea typeface="ＭＳ Ｐゴシック" pitchFamily="-80" charset="-128"/>
              </a:defRPr>
            </a:lvl3pPr>
            <a:lvl4pPr eaLnBrk="0" hangingPunct="0">
              <a:defRPr sz="2400">
                <a:latin typeface="Arial" charset="0"/>
                <a:ea typeface="ＭＳ Ｐゴシック" pitchFamily="-80" charset="-128"/>
              </a:defRPr>
            </a:lvl4pPr>
            <a:lvl5pPr eaLnBrk="0" hangingPunct="0">
              <a:defRPr sz="2400">
                <a:latin typeface="Arial" charset="0"/>
                <a:ea typeface="ＭＳ Ｐゴシック" pitchFamily="-80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9pPr>
          </a:lstStyle>
          <a:p>
            <a:pPr>
              <a:defRPr/>
            </a:pPr>
            <a:fld id="{EF0ADA8D-EBAA-4C2E-8502-E9307F683E39}" type="slidenum">
              <a:rPr lang="en-US" sz="1050"/>
              <a:pPr>
                <a:defRPr/>
              </a:pPr>
              <a:t>‹#›</a:t>
            </a:fld>
            <a:endParaRPr lang="en-US" sz="1050"/>
          </a:p>
        </p:txBody>
      </p:sp>
      <p:pic>
        <p:nvPicPr>
          <p:cNvPr id="6" name="Picture 831">
            <a:extLst>
              <a:ext uri="{FF2B5EF4-FFF2-40B4-BE49-F238E27FC236}">
                <a16:creationId xmlns:a16="http://schemas.microsoft.com/office/drawing/2014/main" xmlns="" id="{B50AE33A-9379-45F0-ABC9-CAAA9A0F7B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686"/>
          <a:stretch>
            <a:fillRect/>
          </a:stretch>
        </p:blipFill>
        <p:spPr bwMode="black">
          <a:xfrm>
            <a:off x="195263" y="1055688"/>
            <a:ext cx="1547812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26">
            <a:extLst>
              <a:ext uri="{FF2B5EF4-FFF2-40B4-BE49-F238E27FC236}">
                <a16:creationId xmlns:a16="http://schemas.microsoft.com/office/drawing/2014/main" xmlns="" id="{4D9CE87F-13EA-4346-8BDC-57C709542BF7}"/>
              </a:ext>
            </a:extLst>
          </p:cNvPr>
          <p:cNvGrpSpPr>
            <a:grpSpLocks/>
          </p:cNvGrpSpPr>
          <p:nvPr/>
        </p:nvGrpSpPr>
        <p:grpSpPr bwMode="auto">
          <a:xfrm>
            <a:off x="5837238" y="2692400"/>
            <a:ext cx="3306762" cy="3613150"/>
            <a:chOff x="5836913" y="2692400"/>
            <a:chExt cx="3307088" cy="3613154"/>
          </a:xfrm>
        </p:grpSpPr>
        <p:pic>
          <p:nvPicPr>
            <p:cNvPr id="8" name="Picture 6" descr="Environmental-water-drop1">
              <a:extLst>
                <a:ext uri="{FF2B5EF4-FFF2-40B4-BE49-F238E27FC236}">
                  <a16:creationId xmlns:a16="http://schemas.microsoft.com/office/drawing/2014/main" xmlns="" id="{7E4AFB98-130D-481C-8CE5-6152A1F043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525" b="52040"/>
            <a:stretch>
              <a:fillRect/>
            </a:stretch>
          </p:blipFill>
          <p:spPr bwMode="auto">
            <a:xfrm>
              <a:off x="8200115" y="4156287"/>
              <a:ext cx="943883" cy="925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8" descr="talent_heart">
              <a:extLst>
                <a:ext uri="{FF2B5EF4-FFF2-40B4-BE49-F238E27FC236}">
                  <a16:creationId xmlns:a16="http://schemas.microsoft.com/office/drawing/2014/main" xmlns="" id="{17605031-E9F2-4BBA-A322-BD130B292F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136" b="36043"/>
            <a:stretch>
              <a:fillRect/>
            </a:stretch>
          </p:blipFill>
          <p:spPr bwMode="auto">
            <a:xfrm>
              <a:off x="5836913" y="2692400"/>
              <a:ext cx="3307088" cy="361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9" descr="human1">
              <a:extLst>
                <a:ext uri="{FF2B5EF4-FFF2-40B4-BE49-F238E27FC236}">
                  <a16:creationId xmlns:a16="http://schemas.microsoft.com/office/drawing/2014/main" xmlns="" id="{3BDF23A4-D85D-4EA6-80CE-5624F18963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945" b="41591"/>
            <a:stretch>
              <a:fillRect/>
            </a:stretch>
          </p:blipFill>
          <p:spPr bwMode="auto">
            <a:xfrm>
              <a:off x="8046914" y="5212080"/>
              <a:ext cx="1097085" cy="1093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6" descr="purple_up_arrow1">
              <a:extLst>
                <a:ext uri="{FF2B5EF4-FFF2-40B4-BE49-F238E27FC236}">
                  <a16:creationId xmlns:a16="http://schemas.microsoft.com/office/drawing/2014/main" xmlns="" id="{1082763C-D397-4BD1-85D4-CCA7EE9E1F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5847" b="54196"/>
            <a:stretch>
              <a:fillRect/>
            </a:stretch>
          </p:blipFill>
          <p:spPr bwMode="auto">
            <a:xfrm>
              <a:off x="7427666" y="4431946"/>
              <a:ext cx="1716333" cy="1872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31">
              <a:extLst>
                <a:ext uri="{FF2B5EF4-FFF2-40B4-BE49-F238E27FC236}">
                  <a16:creationId xmlns:a16="http://schemas.microsoft.com/office/drawing/2014/main" xmlns="" id="{0526EB81-1F14-4F94-A03F-D17AECB421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5247" y="4423853"/>
              <a:ext cx="311495" cy="311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3">
              <a:extLst>
                <a:ext uri="{FF2B5EF4-FFF2-40B4-BE49-F238E27FC236}">
                  <a16:creationId xmlns:a16="http://schemas.microsoft.com/office/drawing/2014/main" xmlns="" id="{DE1834FB-0289-4654-A0EE-FC6DB708C96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19422" y="3863219"/>
              <a:ext cx="375178" cy="392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1">
              <a:extLst>
                <a:ext uri="{FF2B5EF4-FFF2-40B4-BE49-F238E27FC236}">
                  <a16:creationId xmlns:a16="http://schemas.microsoft.com/office/drawing/2014/main" xmlns="" id="{FA33721B-A19C-4848-A9FD-7F51022FF9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2998" y="4409561"/>
              <a:ext cx="390851" cy="395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Rectangle 6">
            <a:extLst>
              <a:ext uri="{FF2B5EF4-FFF2-40B4-BE49-F238E27FC236}">
                <a16:creationId xmlns:a16="http://schemas.microsoft.com/office/drawing/2014/main" xmlns="" id="{1CA8311A-7390-4391-A888-BC90F739041B}"/>
              </a:ext>
            </a:extLst>
          </p:cNvPr>
          <p:cNvSpPr>
            <a:spLocks noChangeArrowheads="1"/>
          </p:cNvSpPr>
          <p:nvPr/>
        </p:nvSpPr>
        <p:spPr bwMode="invGray">
          <a:xfrm>
            <a:off x="0" y="809625"/>
            <a:ext cx="9144000" cy="5495925"/>
          </a:xfrm>
          <a:prstGeom prst="rect">
            <a:avLst/>
          </a:prstGeom>
          <a:gradFill rotWithShape="1">
            <a:gsLst>
              <a:gs pos="0">
                <a:srgbClr val="00549F"/>
              </a:gs>
              <a:gs pos="100000">
                <a:srgbClr val="0C2D83"/>
              </a:gs>
            </a:gsLst>
            <a:lin ang="0" scaled="1"/>
          </a:gradFill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>
              <a:solidFill>
                <a:srgbClr val="1E1E1E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6" name="Text Box 21">
            <a:extLst>
              <a:ext uri="{FF2B5EF4-FFF2-40B4-BE49-F238E27FC236}">
                <a16:creationId xmlns:a16="http://schemas.microsoft.com/office/drawing/2014/main" xmlns="" id="{8BC30C1C-FAC9-4D8C-94CC-EB38CF102D0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8513" y="6546850"/>
            <a:ext cx="3619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fontAlgn="base">
              <a:spcBef>
                <a:spcPct val="50000"/>
              </a:spcBef>
              <a:spcAft>
                <a:spcPct val="0"/>
              </a:spcAft>
              <a:defRPr sz="1100">
                <a:solidFill>
                  <a:srgbClr val="1E1E1E"/>
                </a:solidFill>
                <a:latin typeface="Calibri" pitchFamily="34" charset="0"/>
                <a:ea typeface="ＭＳ Ｐゴシック" pitchFamily="-80" charset="-128"/>
              </a:defRPr>
            </a:lvl1pPr>
            <a:lvl2pPr marL="37931725" indent="-37474525" eaLnBrk="0" hangingPunct="0">
              <a:defRPr sz="2400">
                <a:latin typeface="Arial" charset="0"/>
                <a:ea typeface="ＭＳ Ｐゴシック" pitchFamily="-80" charset="-128"/>
              </a:defRPr>
            </a:lvl2pPr>
            <a:lvl3pPr eaLnBrk="0" hangingPunct="0">
              <a:defRPr sz="2400">
                <a:latin typeface="Arial" charset="0"/>
                <a:ea typeface="ＭＳ Ｐゴシック" pitchFamily="-80" charset="-128"/>
              </a:defRPr>
            </a:lvl3pPr>
            <a:lvl4pPr eaLnBrk="0" hangingPunct="0">
              <a:defRPr sz="2400">
                <a:latin typeface="Arial" charset="0"/>
                <a:ea typeface="ＭＳ Ｐゴシック" pitchFamily="-80" charset="-128"/>
              </a:defRPr>
            </a:lvl4pPr>
            <a:lvl5pPr eaLnBrk="0" hangingPunct="0">
              <a:defRPr sz="2400">
                <a:latin typeface="Arial" charset="0"/>
                <a:ea typeface="ＭＳ Ｐゴシック" pitchFamily="-80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9pPr>
          </a:lstStyle>
          <a:p>
            <a:pPr>
              <a:defRPr/>
            </a:pPr>
            <a:fld id="{2D726B93-19D7-433C-9499-282E39E88E03}" type="slidenum">
              <a:rPr lang="en-US" sz="1050"/>
              <a:pPr>
                <a:defRPr/>
              </a:pPr>
              <a:t>‹#›</a:t>
            </a:fld>
            <a:endParaRPr lang="en-US" sz="1050"/>
          </a:p>
        </p:txBody>
      </p:sp>
      <p:sp>
        <p:nvSpPr>
          <p:cNvPr id="17" name="TextBox 44">
            <a:extLst>
              <a:ext uri="{FF2B5EF4-FFF2-40B4-BE49-F238E27FC236}">
                <a16:creationId xmlns:a16="http://schemas.microsoft.com/office/drawing/2014/main" xmlns="" id="{D24C95F3-C310-4ACB-A8EA-439E101EF7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1588" y="6494463"/>
            <a:ext cx="3298825" cy="2476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>
                <a:latin typeface="Calibri" panose="020F0502020204030204" pitchFamily="34" charset="0"/>
              </a:rPr>
              <a:t>                 Conference Board  | Strategic HR Conference</a:t>
            </a:r>
          </a:p>
        </p:txBody>
      </p:sp>
      <p:grpSp>
        <p:nvGrpSpPr>
          <p:cNvPr id="18" name="Group 45">
            <a:extLst>
              <a:ext uri="{FF2B5EF4-FFF2-40B4-BE49-F238E27FC236}">
                <a16:creationId xmlns:a16="http://schemas.microsoft.com/office/drawing/2014/main" xmlns="" id="{E50C5D45-0EE4-44DC-BCDC-0D013101151B}"/>
              </a:ext>
            </a:extLst>
          </p:cNvPr>
          <p:cNvGrpSpPr>
            <a:grpSpLocks/>
          </p:cNvGrpSpPr>
          <p:nvPr/>
        </p:nvGrpSpPr>
        <p:grpSpPr bwMode="auto">
          <a:xfrm>
            <a:off x="5837238" y="2690813"/>
            <a:ext cx="3306762" cy="3613150"/>
            <a:chOff x="5836913" y="2692400"/>
            <a:chExt cx="3307088" cy="3613154"/>
          </a:xfrm>
        </p:grpSpPr>
        <p:pic>
          <p:nvPicPr>
            <p:cNvPr id="19" name="Picture 6" descr="Environmental-water-drop1">
              <a:extLst>
                <a:ext uri="{FF2B5EF4-FFF2-40B4-BE49-F238E27FC236}">
                  <a16:creationId xmlns:a16="http://schemas.microsoft.com/office/drawing/2014/main" xmlns="" id="{56349066-2AC0-410A-A612-7F3EC49B9C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525" b="52040"/>
            <a:stretch>
              <a:fillRect/>
            </a:stretch>
          </p:blipFill>
          <p:spPr bwMode="auto">
            <a:xfrm>
              <a:off x="8200115" y="4156287"/>
              <a:ext cx="943883" cy="925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47" descr="talent_heart">
              <a:extLst>
                <a:ext uri="{FF2B5EF4-FFF2-40B4-BE49-F238E27FC236}">
                  <a16:creationId xmlns:a16="http://schemas.microsoft.com/office/drawing/2014/main" xmlns="" id="{83C45068-A928-43DD-A244-740933A8CA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136" b="36043"/>
            <a:stretch>
              <a:fillRect/>
            </a:stretch>
          </p:blipFill>
          <p:spPr bwMode="auto">
            <a:xfrm>
              <a:off x="5836913" y="2692400"/>
              <a:ext cx="3307088" cy="361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48" descr="human1">
              <a:extLst>
                <a:ext uri="{FF2B5EF4-FFF2-40B4-BE49-F238E27FC236}">
                  <a16:creationId xmlns:a16="http://schemas.microsoft.com/office/drawing/2014/main" xmlns="" id="{96DA7314-47F9-4EBA-9936-0B732A3A7D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945" b="41591"/>
            <a:stretch>
              <a:fillRect/>
            </a:stretch>
          </p:blipFill>
          <p:spPr bwMode="auto">
            <a:xfrm>
              <a:off x="8046914" y="5212080"/>
              <a:ext cx="1097085" cy="1093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6" descr="purple_up_arrow1">
              <a:extLst>
                <a:ext uri="{FF2B5EF4-FFF2-40B4-BE49-F238E27FC236}">
                  <a16:creationId xmlns:a16="http://schemas.microsoft.com/office/drawing/2014/main" xmlns="" id="{76A5A803-6AA9-430B-8731-7C11A9B7DC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5847" b="54196"/>
            <a:stretch>
              <a:fillRect/>
            </a:stretch>
          </p:blipFill>
          <p:spPr bwMode="auto">
            <a:xfrm>
              <a:off x="7427666" y="4431946"/>
              <a:ext cx="1716333" cy="1872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50">
              <a:extLst>
                <a:ext uri="{FF2B5EF4-FFF2-40B4-BE49-F238E27FC236}">
                  <a16:creationId xmlns:a16="http://schemas.microsoft.com/office/drawing/2014/main" xmlns="" id="{67736A4F-234B-4785-AB6D-7BEFF26778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5247" y="4423853"/>
              <a:ext cx="311495" cy="311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3">
              <a:extLst>
                <a:ext uri="{FF2B5EF4-FFF2-40B4-BE49-F238E27FC236}">
                  <a16:creationId xmlns:a16="http://schemas.microsoft.com/office/drawing/2014/main" xmlns="" id="{3BD99A02-9BF6-4DEB-8AD1-65DFEB2717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19422" y="3863219"/>
              <a:ext cx="375178" cy="392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1">
              <a:extLst>
                <a:ext uri="{FF2B5EF4-FFF2-40B4-BE49-F238E27FC236}">
                  <a16:creationId xmlns:a16="http://schemas.microsoft.com/office/drawing/2014/main" xmlns="" id="{1E0C6DEC-C1AB-4D5C-9F71-20975E62DF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2998" y="4409561"/>
              <a:ext cx="390851" cy="395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6" name="Picture 831">
            <a:extLst>
              <a:ext uri="{FF2B5EF4-FFF2-40B4-BE49-F238E27FC236}">
                <a16:creationId xmlns:a16="http://schemas.microsoft.com/office/drawing/2014/main" xmlns="" id="{59EAE9B2-5501-4336-B15A-8869D6CA99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686"/>
          <a:stretch>
            <a:fillRect/>
          </a:stretch>
        </p:blipFill>
        <p:spPr bwMode="black">
          <a:xfrm>
            <a:off x="347663" y="1208088"/>
            <a:ext cx="1547812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1" name="Rectangle 3"/>
          <p:cNvSpPr>
            <a:spLocks noGrp="1" noChangeArrowheads="1"/>
          </p:cNvSpPr>
          <p:nvPr>
            <p:ph type="ctrTitle"/>
          </p:nvPr>
        </p:nvSpPr>
        <p:spPr bwMode="black">
          <a:xfrm>
            <a:off x="194975" y="1706054"/>
            <a:ext cx="7343775" cy="652463"/>
          </a:xfrm>
        </p:spPr>
        <p:txBody>
          <a:bodyPr lIns="0" bIns="0" anchor="t"/>
          <a:lstStyle>
            <a:lvl1pPr>
              <a:defRPr sz="40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8372" name="Rectangle 4"/>
          <p:cNvSpPr>
            <a:spLocks noGrp="1" noChangeArrowheads="1"/>
          </p:cNvSpPr>
          <p:nvPr>
            <p:ph type="subTitle" idx="1"/>
          </p:nvPr>
        </p:nvSpPr>
        <p:spPr bwMode="black">
          <a:xfrm>
            <a:off x="194975" y="4012828"/>
            <a:ext cx="5983288" cy="606425"/>
          </a:xfrm>
        </p:spPr>
        <p:txBody>
          <a:bodyPr lIns="0" bIns="0"/>
          <a:lstStyle>
            <a:lvl1pPr marL="0" indent="0">
              <a:lnSpc>
                <a:spcPct val="95000"/>
              </a:lnSpc>
              <a:buFontTx/>
              <a:buNone/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48997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5345918"/>
      </p:ext>
    </p:extLst>
  </p:cSld>
  <p:clrMapOvr>
    <a:masterClrMapping/>
  </p:clrMapOvr>
  <p:transition spd="slow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4886730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702" y="267530"/>
            <a:ext cx="8099852" cy="768350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416732"/>
      </p:ext>
    </p:extLst>
  </p:cSld>
  <p:clrMapOvr>
    <a:masterClrMapping/>
  </p:clrMapOvr>
  <p:transition spd="slow"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795" y="647020"/>
            <a:ext cx="8487014" cy="765756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484784"/>
            <a:ext cx="8496944" cy="4968552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211638" y="104109"/>
            <a:ext cx="4822825" cy="341056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37604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xmlns="" id="{D3478101-48C2-4BB2-BB49-FF882CD67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0722" name="Object 2" hidden="1">
                        <a:extLst>
                          <a:ext uri="{FF2B5EF4-FFF2-40B4-BE49-F238E27FC236}">
                            <a16:creationId xmlns:a16="http://schemas.microsoft.com/office/drawing/2014/main" xmlns="" id="{3ACF702B-0D72-4358-8683-61D4005CF4F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7">
            <a:extLst>
              <a:ext uri="{FF2B5EF4-FFF2-40B4-BE49-F238E27FC236}">
                <a16:creationId xmlns:a16="http://schemas.microsoft.com/office/drawing/2014/main" xmlns="" id="{57C46FCA-DE39-4BF3-9B60-9B27D12FBB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1104900"/>
          </a:xfrm>
          <a:prstGeom prst="rect">
            <a:avLst/>
          </a:prstGeom>
          <a:gradFill rotWithShape="1">
            <a:gsLst>
              <a:gs pos="0">
                <a:srgbClr val="00549F"/>
              </a:gs>
              <a:gs pos="100000">
                <a:srgbClr val="0C2D83"/>
              </a:gs>
            </a:gsLst>
            <a:lin ang="0" scaled="1"/>
          </a:gradFill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>
              <a:solidFill>
                <a:srgbClr val="1E1E1E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4" name="Text Box 21">
            <a:extLst>
              <a:ext uri="{FF2B5EF4-FFF2-40B4-BE49-F238E27FC236}">
                <a16:creationId xmlns:a16="http://schemas.microsoft.com/office/drawing/2014/main" xmlns="" id="{D56B1D31-BA7F-4427-9F18-38DA1DDC91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8513" y="6546850"/>
            <a:ext cx="3619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lvl="0" fontAlgn="base">
              <a:spcBef>
                <a:spcPct val="50000"/>
              </a:spcBef>
              <a:spcAft>
                <a:spcPct val="0"/>
              </a:spcAft>
              <a:defRPr sz="1050">
                <a:solidFill>
                  <a:srgbClr val="1E1E1E"/>
                </a:solidFill>
                <a:latin typeface="Calibri" pitchFamily="34" charset="0"/>
                <a:ea typeface="ＭＳ Ｐゴシック" pitchFamily="-80" charset="-128"/>
              </a:defRPr>
            </a:lvl1pPr>
            <a:lvl2pPr marL="37931725" indent="-37474525" eaLnBrk="0" hangingPunct="0">
              <a:defRPr sz="2400">
                <a:latin typeface="Arial" charset="0"/>
                <a:ea typeface="ＭＳ Ｐゴシック" pitchFamily="-80" charset="-128"/>
              </a:defRPr>
            </a:lvl2pPr>
            <a:lvl3pPr eaLnBrk="0" hangingPunct="0">
              <a:defRPr sz="2400">
                <a:latin typeface="Arial" charset="0"/>
                <a:ea typeface="ＭＳ Ｐゴシック" pitchFamily="-80" charset="-128"/>
              </a:defRPr>
            </a:lvl3pPr>
            <a:lvl4pPr eaLnBrk="0" hangingPunct="0">
              <a:defRPr sz="2400">
                <a:latin typeface="Arial" charset="0"/>
                <a:ea typeface="ＭＳ Ｐゴシック" pitchFamily="-80" charset="-128"/>
              </a:defRPr>
            </a:lvl4pPr>
            <a:lvl5pPr eaLnBrk="0" hangingPunct="0">
              <a:defRPr sz="2400">
                <a:latin typeface="Arial" charset="0"/>
                <a:ea typeface="ＭＳ Ｐゴシック" pitchFamily="-80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9pPr>
          </a:lstStyle>
          <a:p>
            <a:pPr>
              <a:defRPr/>
            </a:pPr>
            <a:fld id="{1BBF88C2-107D-4910-A080-F92E5B11D7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5" name="Picture 50">
            <a:extLst>
              <a:ext uri="{FF2B5EF4-FFF2-40B4-BE49-F238E27FC236}">
                <a16:creationId xmlns:a16="http://schemas.microsoft.com/office/drawing/2014/main" xmlns="" id="{7A49CC75-39DE-4008-A3DB-E83938BEDA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932"/>
          <a:stretch>
            <a:fillRect/>
          </a:stretch>
        </p:blipFill>
        <p:spPr bwMode="auto">
          <a:xfrm>
            <a:off x="530225" y="6388100"/>
            <a:ext cx="1233488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34">
            <a:extLst>
              <a:ext uri="{FF2B5EF4-FFF2-40B4-BE49-F238E27FC236}">
                <a16:creationId xmlns:a16="http://schemas.microsoft.com/office/drawing/2014/main" xmlns="" id="{5B6E972E-6843-4461-A9E6-88BBA2C6ACF9}"/>
              </a:ext>
            </a:extLst>
          </p:cNvPr>
          <p:cNvGrpSpPr>
            <a:grpSpLocks/>
          </p:cNvGrpSpPr>
          <p:nvPr/>
        </p:nvGrpSpPr>
        <p:grpSpPr bwMode="auto">
          <a:xfrm>
            <a:off x="8199438" y="100013"/>
            <a:ext cx="944562" cy="1004887"/>
            <a:chOff x="5836913" y="2692400"/>
            <a:chExt cx="3307088" cy="3613154"/>
          </a:xfrm>
        </p:grpSpPr>
        <p:pic>
          <p:nvPicPr>
            <p:cNvPr id="7" name="Picture 26" descr="Environmental-water-drop1">
              <a:extLst>
                <a:ext uri="{FF2B5EF4-FFF2-40B4-BE49-F238E27FC236}">
                  <a16:creationId xmlns:a16="http://schemas.microsoft.com/office/drawing/2014/main" xmlns="" id="{FE753D39-031A-44FF-BB3B-5316F7D1A59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525" b="52040"/>
            <a:stretch>
              <a:fillRect/>
            </a:stretch>
          </p:blipFill>
          <p:spPr bwMode="auto">
            <a:xfrm>
              <a:off x="8200115" y="4156287"/>
              <a:ext cx="943883" cy="925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36" descr="talent_heart">
              <a:extLst>
                <a:ext uri="{FF2B5EF4-FFF2-40B4-BE49-F238E27FC236}">
                  <a16:creationId xmlns:a16="http://schemas.microsoft.com/office/drawing/2014/main" xmlns="" id="{65ACAA2D-AE8C-448D-BFD3-D8675294E7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136" b="36043"/>
            <a:stretch>
              <a:fillRect/>
            </a:stretch>
          </p:blipFill>
          <p:spPr bwMode="auto">
            <a:xfrm>
              <a:off x="5836913" y="2692400"/>
              <a:ext cx="3307088" cy="361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7" descr="human1">
              <a:extLst>
                <a:ext uri="{FF2B5EF4-FFF2-40B4-BE49-F238E27FC236}">
                  <a16:creationId xmlns:a16="http://schemas.microsoft.com/office/drawing/2014/main" xmlns="" id="{DC337D92-D360-40F4-B314-E38195228F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945" b="41591"/>
            <a:stretch>
              <a:fillRect/>
            </a:stretch>
          </p:blipFill>
          <p:spPr bwMode="auto">
            <a:xfrm>
              <a:off x="8046914" y="5212080"/>
              <a:ext cx="1097085" cy="1093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6" descr="purple_up_arrow1">
              <a:extLst>
                <a:ext uri="{FF2B5EF4-FFF2-40B4-BE49-F238E27FC236}">
                  <a16:creationId xmlns:a16="http://schemas.microsoft.com/office/drawing/2014/main" xmlns="" id="{BA1173DA-3C31-4ABD-BC15-F695818DD6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5847" b="54196"/>
            <a:stretch>
              <a:fillRect/>
            </a:stretch>
          </p:blipFill>
          <p:spPr bwMode="auto">
            <a:xfrm>
              <a:off x="7427666" y="4431946"/>
              <a:ext cx="1716333" cy="1872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9">
              <a:extLst>
                <a:ext uri="{FF2B5EF4-FFF2-40B4-BE49-F238E27FC236}">
                  <a16:creationId xmlns:a16="http://schemas.microsoft.com/office/drawing/2014/main" xmlns="" id="{25E44594-1578-4F23-91A3-3EA72A64D2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5247" y="4423853"/>
              <a:ext cx="311495" cy="311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3">
              <a:extLst>
                <a:ext uri="{FF2B5EF4-FFF2-40B4-BE49-F238E27FC236}">
                  <a16:creationId xmlns:a16="http://schemas.microsoft.com/office/drawing/2014/main" xmlns="" id="{79EB8D59-14CB-4689-99CE-3551361060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19422" y="3863219"/>
              <a:ext cx="375178" cy="392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1">
              <a:extLst>
                <a:ext uri="{FF2B5EF4-FFF2-40B4-BE49-F238E27FC236}">
                  <a16:creationId xmlns:a16="http://schemas.microsoft.com/office/drawing/2014/main" xmlns="" id="{FA5BB59D-7157-4879-B7E7-2DF154EB7C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2998" y="4409561"/>
              <a:ext cx="390851" cy="395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" name="Group 17">
            <a:extLst>
              <a:ext uri="{FF2B5EF4-FFF2-40B4-BE49-F238E27FC236}">
                <a16:creationId xmlns:a16="http://schemas.microsoft.com/office/drawing/2014/main" xmlns="" id="{75B6A8B7-52EC-47CC-AB53-AEF938504141}"/>
              </a:ext>
            </a:extLst>
          </p:cNvPr>
          <p:cNvGrpSpPr>
            <a:grpSpLocks/>
          </p:cNvGrpSpPr>
          <p:nvPr/>
        </p:nvGrpSpPr>
        <p:grpSpPr bwMode="auto">
          <a:xfrm>
            <a:off x="8199438" y="96838"/>
            <a:ext cx="944562" cy="1008062"/>
            <a:chOff x="5836913" y="2692400"/>
            <a:chExt cx="3307088" cy="3615428"/>
          </a:xfrm>
        </p:grpSpPr>
        <p:pic>
          <p:nvPicPr>
            <p:cNvPr id="15" name="Picture 6" descr="Environmental-water-drop1">
              <a:extLst>
                <a:ext uri="{FF2B5EF4-FFF2-40B4-BE49-F238E27FC236}">
                  <a16:creationId xmlns:a16="http://schemas.microsoft.com/office/drawing/2014/main" xmlns="" id="{0C50CF27-F83B-4850-B881-A5C6C59CB9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525" b="52040"/>
            <a:stretch>
              <a:fillRect/>
            </a:stretch>
          </p:blipFill>
          <p:spPr bwMode="auto">
            <a:xfrm>
              <a:off x="8200115" y="4156287"/>
              <a:ext cx="943883" cy="925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19" descr="talent_heart">
              <a:extLst>
                <a:ext uri="{FF2B5EF4-FFF2-40B4-BE49-F238E27FC236}">
                  <a16:creationId xmlns:a16="http://schemas.microsoft.com/office/drawing/2014/main" xmlns="" id="{A0771C43-8BAD-4441-98FB-3192BE4F64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136" b="36043"/>
            <a:stretch>
              <a:fillRect/>
            </a:stretch>
          </p:blipFill>
          <p:spPr bwMode="auto">
            <a:xfrm>
              <a:off x="5836913" y="2692400"/>
              <a:ext cx="3307088" cy="361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0" descr="human1">
              <a:extLst>
                <a:ext uri="{FF2B5EF4-FFF2-40B4-BE49-F238E27FC236}">
                  <a16:creationId xmlns:a16="http://schemas.microsoft.com/office/drawing/2014/main" xmlns="" id="{8F135267-BEB7-47E0-917B-A4B93937A6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945" b="41591"/>
            <a:stretch>
              <a:fillRect/>
            </a:stretch>
          </p:blipFill>
          <p:spPr bwMode="auto">
            <a:xfrm>
              <a:off x="8046914" y="5212080"/>
              <a:ext cx="1097085" cy="1087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6" descr="purple_up_arrow1">
              <a:extLst>
                <a:ext uri="{FF2B5EF4-FFF2-40B4-BE49-F238E27FC236}">
                  <a16:creationId xmlns:a16="http://schemas.microsoft.com/office/drawing/2014/main" xmlns="" id="{E6D0D205-1E61-4B0E-B7C9-91ACF2BF3B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5847" b="54196"/>
            <a:stretch>
              <a:fillRect/>
            </a:stretch>
          </p:blipFill>
          <p:spPr bwMode="auto">
            <a:xfrm>
              <a:off x="7427666" y="4431945"/>
              <a:ext cx="1716333" cy="1875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TextBox 22">
            <a:extLst>
              <a:ext uri="{FF2B5EF4-FFF2-40B4-BE49-F238E27FC236}">
                <a16:creationId xmlns:a16="http://schemas.microsoft.com/office/drawing/2014/main" xmlns="" id="{3DD41621-8C0A-4F75-B548-9702C9B17CB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81588" y="6494463"/>
            <a:ext cx="3298825" cy="2476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>
                <a:latin typeface="Calibri" panose="020F0502020204030204" pitchFamily="34" charset="0"/>
              </a:rPr>
              <a:t>                 Conference Board  | Strategic HR Conference</a:t>
            </a:r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xmlns="" id="{2A5F8888-6062-409B-BB1D-24A759DFA2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19175"/>
            <a:ext cx="9144000" cy="117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Rectangle 24">
            <a:extLst>
              <a:ext uri="{FF2B5EF4-FFF2-40B4-BE49-F238E27FC236}">
                <a16:creationId xmlns:a16="http://schemas.microsoft.com/office/drawing/2014/main" xmlns="" id="{3DED8982-F994-44B5-B2CC-32C27F2915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19175"/>
            <a:ext cx="9144000" cy="1174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en-US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67220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595087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E Crotonville_Course Presentation Slides Template_Oct 2014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8E3E854-0AF6-4B46-A731-20D7C5D34A3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6875" y="6175375"/>
            <a:ext cx="2070100" cy="33813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600" b="1">
                <a:solidFill>
                  <a:srgbClr val="005CB9"/>
                </a:solidFill>
                <a:latin typeface="GE Inspira Pitch"/>
              </a:rPr>
              <a:t>Imagination at work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xmlns="" id="{170010A4-3419-4D77-A6CD-32D99F4C85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75" y="0"/>
            <a:ext cx="3794125" cy="285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>
            <a:extLst>
              <a:ext uri="{FF2B5EF4-FFF2-40B4-BE49-F238E27FC236}">
                <a16:creationId xmlns:a16="http://schemas.microsoft.com/office/drawing/2014/main" xmlns="" id="{31EC4A38-7E06-4144-B9E3-448BC8B052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6625"/>
            <a:ext cx="4383088" cy="191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3482975"/>
            <a:ext cx="8318500" cy="1470025"/>
          </a:xfrm>
        </p:spPr>
        <p:txBody>
          <a:bodyPr/>
          <a:lstStyle>
            <a:lvl1pPr>
              <a:lnSpc>
                <a:spcPct val="90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4048" y="5001768"/>
            <a:ext cx="6316112" cy="762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470567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1627632"/>
            <a:ext cx="8347202" cy="4346825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406730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orytelling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94" y="551747"/>
            <a:ext cx="8352156" cy="102100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94" y="2395728"/>
            <a:ext cx="8347202" cy="3654997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 marL="284163" indent="-263525">
              <a:defRPr sz="2800"/>
            </a:lvl2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636692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1627632"/>
            <a:ext cx="8347202" cy="4346825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675918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Text 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668" y="1657668"/>
            <a:ext cx="8347202" cy="4324350"/>
          </a:xfrm>
        </p:spPr>
        <p:txBody>
          <a:bodyPr rtlCol="0">
            <a:noAutofit/>
          </a:bodyPr>
          <a:lstStyle>
            <a:lvl1pPr>
              <a:spcAft>
                <a:spcPts val="0"/>
              </a:spcAft>
              <a:defRPr lang="en-US" sz="2000" dirty="0" smtClean="0"/>
            </a:lvl1pPr>
            <a:lvl2pPr marL="193675" indent="-182563">
              <a:defRPr lang="en-US" dirty="0" smtClean="0"/>
            </a:lvl2pPr>
            <a:lvl3pPr marL="400050" indent="-195263">
              <a:defRPr lang="en-US" sz="1800" dirty="0" smtClean="0"/>
            </a:lvl3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48787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Text Heavy 1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94" y="552450"/>
            <a:ext cx="8352156" cy="527753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668" y="1080008"/>
            <a:ext cx="8347202" cy="4585145"/>
          </a:xfrm>
        </p:spPr>
        <p:txBody>
          <a:bodyPr rtlCol="0">
            <a:noAutofit/>
          </a:bodyPr>
          <a:lstStyle>
            <a:lvl1pPr>
              <a:spcAft>
                <a:spcPts val="0"/>
              </a:spcAft>
              <a:defRPr lang="en-US" sz="2000" dirty="0" smtClean="0"/>
            </a:lvl1pPr>
            <a:lvl2pPr marL="193675" indent="-182563">
              <a:defRPr lang="en-US" dirty="0" smtClean="0"/>
            </a:lvl2pPr>
            <a:lvl3pPr marL="400050" indent="-195263">
              <a:defRPr lang="en-US" sz="1800" dirty="0" smtClean="0"/>
            </a:lvl3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43520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1795" y="1656685"/>
            <a:ext cx="3896043" cy="4396453"/>
          </a:xfrm>
        </p:spPr>
        <p:txBody>
          <a:bodyPr rtlCol="0">
            <a:noAutofit/>
          </a:bodyPr>
          <a:lstStyle>
            <a:lvl1pPr>
              <a:spcBef>
                <a:spcPts val="1000"/>
              </a:spcBef>
              <a:defRPr lang="en-US" sz="2000" dirty="0" smtClean="0"/>
            </a:lvl1pPr>
            <a:lvl2pPr>
              <a:spcBef>
                <a:spcPts val="800"/>
              </a:spcBef>
              <a:defRPr lang="en-US" sz="1800" dirty="0" smtClean="0"/>
            </a:lvl2pPr>
            <a:lvl3pPr>
              <a:spcBef>
                <a:spcPts val="600"/>
              </a:spcBef>
              <a:defRPr lang="en-US" sz="1600" dirty="0" smtClean="0"/>
            </a:lvl3pPr>
            <a:lvl4pPr>
              <a:spcBef>
                <a:spcPts val="400"/>
              </a:spcBef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1080" y="1656685"/>
            <a:ext cx="3900170" cy="4396453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193636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9E4AF78-F060-4D76-8D82-ECEA4FF08B8F}"/>
              </a:ext>
            </a:extLst>
          </p:cNvPr>
          <p:cNvSpPr/>
          <p:nvPr userDrawn="1"/>
        </p:nvSpPr>
        <p:spPr>
          <a:xfrm>
            <a:off x="7204075" y="6416675"/>
            <a:ext cx="16398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157C369-AAA8-4FEA-891A-D8449A3B8566}"/>
              </a:ext>
            </a:extLst>
          </p:cNvPr>
          <p:cNvSpPr txBox="1"/>
          <p:nvPr userDrawn="1"/>
        </p:nvSpPr>
        <p:spPr>
          <a:xfrm>
            <a:off x="6400800" y="6369050"/>
            <a:ext cx="2522538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tr-TR" sz="1050"/>
              <a:t>Facilitating Effective Meetings at GE - FEM</a:t>
            </a:r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1795" y="1634490"/>
            <a:ext cx="3904488" cy="373062"/>
          </a:xfrm>
        </p:spPr>
        <p:txBody>
          <a:bodyPr rIns="182880"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1795" y="2071639"/>
            <a:ext cx="3904488" cy="3811319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31080" y="1634490"/>
            <a:ext cx="3900170" cy="373062"/>
          </a:xfrm>
        </p:spPr>
        <p:txBody>
          <a:bodyPr rIns="182880"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31080" y="2071639"/>
            <a:ext cx="3900170" cy="3811319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008532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386A8476-59C7-41C8-AC46-1427F5277E50}"/>
              </a:ext>
            </a:extLst>
          </p:cNvPr>
          <p:cNvSpPr/>
          <p:nvPr userDrawn="1"/>
        </p:nvSpPr>
        <p:spPr>
          <a:xfrm>
            <a:off x="7204075" y="6416675"/>
            <a:ext cx="16398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9F7FD80-7855-48CC-A9EB-8A11B3A74736}"/>
              </a:ext>
            </a:extLst>
          </p:cNvPr>
          <p:cNvSpPr txBox="1"/>
          <p:nvPr userDrawn="1"/>
        </p:nvSpPr>
        <p:spPr>
          <a:xfrm>
            <a:off x="6400800" y="6369050"/>
            <a:ext cx="2522538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tr-TR" sz="1050"/>
              <a:t>Facilitating Effective Meetings at GE - FEM</a:t>
            </a:r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0" y="1728788"/>
            <a:ext cx="4495800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4644390" y="1728788"/>
            <a:ext cx="4498848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0" y="3962196"/>
            <a:ext cx="4495800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644390" y="3962196"/>
            <a:ext cx="4498848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55573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5066A68-5220-4226-B3B9-D52E78A8A3E7}"/>
              </a:ext>
            </a:extLst>
          </p:cNvPr>
          <p:cNvSpPr/>
          <p:nvPr userDrawn="1"/>
        </p:nvSpPr>
        <p:spPr>
          <a:xfrm>
            <a:off x="7204075" y="6416675"/>
            <a:ext cx="16398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4E761953-9401-401D-BF88-DE92DB85DDA6}"/>
              </a:ext>
            </a:extLst>
          </p:cNvPr>
          <p:cNvSpPr txBox="1"/>
          <p:nvPr userDrawn="1"/>
        </p:nvSpPr>
        <p:spPr>
          <a:xfrm>
            <a:off x="6400800" y="6369050"/>
            <a:ext cx="2522538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tr-TR" sz="1050"/>
              <a:t>Facilitating Effective Meetings at GE - FEM</a:t>
            </a:r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1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2529840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>
          <a:xfrm>
            <a:off x="4644390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5"/>
          </p:nvPr>
        </p:nvSpPr>
        <p:spPr>
          <a:xfrm>
            <a:off x="6758940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99912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B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>
            <a:extLst>
              <a:ext uri="{FF2B5EF4-FFF2-40B4-BE49-F238E27FC236}">
                <a16:creationId xmlns:a16="http://schemas.microsoft.com/office/drawing/2014/main" xmlns="" id="{8BD11783-1DAA-4D79-A1D9-3CD62472DA4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888" y="392113"/>
            <a:ext cx="326866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452306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74E98C9-F3AA-4888-9BBD-E0BD34D1DD3D}"/>
              </a:ext>
            </a:extLst>
          </p:cNvPr>
          <p:cNvSpPr/>
          <p:nvPr userDrawn="1"/>
        </p:nvSpPr>
        <p:spPr>
          <a:xfrm>
            <a:off x="7204075" y="6416675"/>
            <a:ext cx="16398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0FE3302-9B0B-4B72-B508-28906D8EBDAA}"/>
              </a:ext>
            </a:extLst>
          </p:cNvPr>
          <p:cNvSpPr txBox="1"/>
          <p:nvPr userDrawn="1"/>
        </p:nvSpPr>
        <p:spPr>
          <a:xfrm>
            <a:off x="6400800" y="6369050"/>
            <a:ext cx="2522538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tr-TR" sz="1050"/>
              <a:t>Facilitating Effective Meetings at GE - FEM</a:t>
            </a:r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1727805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398463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7510" y="2263518"/>
            <a:ext cx="3890328" cy="1525992"/>
          </a:xfrm>
        </p:spPr>
        <p:txBody>
          <a:bodyPr rIns="182880" rtlCol="0">
            <a:noAutofit/>
          </a:bodyPr>
          <a:lstStyle>
            <a:lvl1pPr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390" y="1727805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182563" indent="0">
              <a:spcBef>
                <a:spcPts val="0"/>
              </a:spcBef>
              <a:buNone/>
              <a:tabLst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26538" y="2263518"/>
            <a:ext cx="3895344" cy="1525992"/>
          </a:xfrm>
        </p:spPr>
        <p:txBody>
          <a:bodyPr rIns="182880" rtlCol="0">
            <a:noAutofit/>
          </a:bodyPr>
          <a:lstStyle>
            <a:lvl1pPr marL="0" indent="0"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3991433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400050" indent="0">
              <a:spcBef>
                <a:spcPts val="0"/>
              </a:spcBef>
              <a:buNone/>
              <a:tabLst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15"/>
          </p:nvPr>
        </p:nvSpPr>
        <p:spPr>
          <a:xfrm>
            <a:off x="397511" y="4527146"/>
            <a:ext cx="3890328" cy="1525992"/>
          </a:xfrm>
        </p:spPr>
        <p:txBody>
          <a:bodyPr rIns="182880" rtlCol="0">
            <a:noAutofit/>
          </a:bodyPr>
          <a:lstStyle>
            <a:lvl1pPr marL="0" indent="0"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644390" y="3991433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180975" indent="0">
              <a:spcBef>
                <a:spcPts val="0"/>
              </a:spcBef>
              <a:buNone/>
              <a:tabLst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7" name="Content Placeholder 5"/>
          <p:cNvSpPr>
            <a:spLocks noGrp="1"/>
          </p:cNvSpPr>
          <p:nvPr>
            <p:ph sz="quarter" idx="17"/>
          </p:nvPr>
        </p:nvSpPr>
        <p:spPr>
          <a:xfrm>
            <a:off x="4826538" y="4527146"/>
            <a:ext cx="3895344" cy="1525992"/>
          </a:xfrm>
        </p:spPr>
        <p:txBody>
          <a:bodyPr rIns="182880" rtlCol="0">
            <a:noAutofit/>
          </a:bodyPr>
          <a:lstStyle>
            <a:lvl1pPr marL="0" indent="0"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61528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1B4C213-1CBC-449E-8E78-C09E5F9FCE54}"/>
              </a:ext>
            </a:extLst>
          </p:cNvPr>
          <p:cNvSpPr/>
          <p:nvPr userDrawn="1"/>
        </p:nvSpPr>
        <p:spPr>
          <a:xfrm>
            <a:off x="7204075" y="6416675"/>
            <a:ext cx="16398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A009E420-596B-43E7-A19E-6CB83AE67BDC}"/>
              </a:ext>
            </a:extLst>
          </p:cNvPr>
          <p:cNvSpPr txBox="1"/>
          <p:nvPr userDrawn="1"/>
        </p:nvSpPr>
        <p:spPr>
          <a:xfrm>
            <a:off x="6400800" y="6369050"/>
            <a:ext cx="2522538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tr-TR" sz="1050"/>
              <a:t>Facilitating Effective Meetings at GE - FEM</a:t>
            </a:r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12750" y="1911350"/>
            <a:ext cx="8318500" cy="3803650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ko-KR" noProof="0"/>
              <a:t>Click icon to add chart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915979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A1FF8BE-397B-49DC-B501-0B025D7A829A}"/>
              </a:ext>
            </a:extLst>
          </p:cNvPr>
          <p:cNvSpPr/>
          <p:nvPr userDrawn="1"/>
        </p:nvSpPr>
        <p:spPr>
          <a:xfrm>
            <a:off x="7204075" y="6416675"/>
            <a:ext cx="16398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C877756-8752-4A9A-B648-57D46BE46AC1}"/>
              </a:ext>
            </a:extLst>
          </p:cNvPr>
          <p:cNvSpPr txBox="1"/>
          <p:nvPr userDrawn="1"/>
        </p:nvSpPr>
        <p:spPr>
          <a:xfrm>
            <a:off x="6400800" y="6369050"/>
            <a:ext cx="2522538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tr-TR" sz="1050"/>
              <a:t>Facilitating Effective Meetings at GE - FEM</a:t>
            </a:r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12750" y="1728788"/>
            <a:ext cx="8318500" cy="4324350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ko-KR" noProof="0"/>
              <a:t>Click icon to add tab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527673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01886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Text -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677EAD5C-BE66-4FB0-90D4-FA30C4B3285A}"/>
              </a:ext>
            </a:extLst>
          </p:cNvPr>
          <p:cNvSpPr/>
          <p:nvPr userDrawn="1"/>
        </p:nvSpPr>
        <p:spPr>
          <a:xfrm>
            <a:off x="7204075" y="6416675"/>
            <a:ext cx="16398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319E45B-5624-463E-A427-8BEEE6430E29}"/>
              </a:ext>
            </a:extLst>
          </p:cNvPr>
          <p:cNvSpPr txBox="1"/>
          <p:nvPr userDrawn="1"/>
        </p:nvSpPr>
        <p:spPr>
          <a:xfrm>
            <a:off x="6400800" y="6369050"/>
            <a:ext cx="2522538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tr-TR" sz="1050"/>
              <a:t>Facilitating Effective Meetings at GE - FEM</a:t>
            </a:r>
            <a:endParaRPr lang="en-US" sz="10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1900" y="1655444"/>
            <a:ext cx="3689350" cy="4397693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1728788"/>
            <a:ext cx="4514850" cy="432435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275815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/ Titl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18E7C143-12F9-491B-B0F3-82F132A47245}"/>
              </a:ext>
            </a:extLst>
          </p:cNvPr>
          <p:cNvSpPr/>
          <p:nvPr userDrawn="1"/>
        </p:nvSpPr>
        <p:spPr>
          <a:xfrm>
            <a:off x="7204075" y="6416675"/>
            <a:ext cx="16398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4983BF1B-27CF-4F7B-A176-C61EE8EFC4D7}"/>
              </a:ext>
            </a:extLst>
          </p:cNvPr>
          <p:cNvSpPr txBox="1"/>
          <p:nvPr userDrawn="1"/>
        </p:nvSpPr>
        <p:spPr>
          <a:xfrm>
            <a:off x="6400800" y="6369050"/>
            <a:ext cx="2522538" cy="1619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tr-TR" sz="1050"/>
              <a:t>Facilitating Effective Meetings at GE - FEM</a:t>
            </a:r>
            <a:endParaRPr lang="en-US" sz="105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728788"/>
            <a:ext cx="9144000" cy="432435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94" y="552450"/>
            <a:ext cx="8352156" cy="102100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79094" y="1794739"/>
            <a:ext cx="8318500" cy="1395412"/>
          </a:xfrm>
        </p:spPr>
        <p:txBody>
          <a:bodyPr/>
          <a:lstStyle>
            <a:lvl1pPr>
              <a:defRPr sz="32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09729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0222741B-1CF2-4283-907B-3BE67035A2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42075" y="6229350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F84550BD-DB29-44DD-BF6C-7DF718950446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Course Name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728788"/>
            <a:ext cx="9144000" cy="5129212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84048" y="1792224"/>
            <a:ext cx="8318500" cy="1395412"/>
          </a:xfrm>
        </p:spPr>
        <p:txBody>
          <a:bodyPr/>
          <a:lstStyle>
            <a:lvl1pPr>
              <a:defRPr sz="32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279469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sz="4000" spc="0" baseline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6032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rgbClr val="0E4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EDF70C27-3AA7-40CC-B4AC-DDCD01437D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D7ED13DB-4ECB-4FE4-B95E-8F171FDB82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163" y="4240213"/>
            <a:ext cx="7208837" cy="261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68217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7346A9DA-1A40-4D41-908F-9DCB524887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4048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6"/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idx="1"/>
          </p:nvPr>
        </p:nvSpPr>
        <p:spPr bwMode="auto">
          <a:xfrm>
            <a:off x="671513" y="182086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85750" indent="-285750">
              <a:buFont typeface="+mj-lt"/>
              <a:buAutoNum type="arabicPeriod"/>
              <a:defRPr/>
            </a:lvl1pPr>
            <a:lvl2pPr marL="576263" indent="-290513">
              <a:buFont typeface="+mj-lt"/>
              <a:buAutoNum type="alphaUcPeriod"/>
              <a:defRPr/>
            </a:lvl2pPr>
            <a:lvl3pPr marL="857250" indent="-288925">
              <a:buFont typeface="+mj-lt"/>
              <a:buAutoNum type="arabicParenR"/>
              <a:defRPr/>
            </a:lvl3pPr>
            <a:lvl4pPr marL="1143000" indent="-284163">
              <a:buFont typeface="+mj-lt"/>
              <a:buAutoNum type="alphaLcParenR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607608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en">
    <p:bg>
      <p:bgPr>
        <a:solidFill>
          <a:srgbClr val="40A0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34774A2E-F652-4B85-AC4F-45587CAF83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06B0BC98-ED6A-4903-858D-5E8C384C3C7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163" y="4240213"/>
            <a:ext cx="7208837" cy="261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00300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Orange">
    <p:bg>
      <p:bgPr>
        <a:solidFill>
          <a:srgbClr val="F183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B9995143-4BB5-4B78-AA0D-B06910278E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75482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Purple">
    <p:bg>
      <p:bgPr>
        <a:solidFill>
          <a:srgbClr val="4942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F98A3C4C-D13F-488E-837C-D77C46127E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44831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A30F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49423B87-F42C-44A1-B287-D1958FD4CE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5FD291F2-BF37-4933-AAB4-317CB7B6ED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163" y="4240213"/>
            <a:ext cx="7208837" cy="261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743495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rgbClr val="4547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B81A5D69-8C3F-492B-AFEE-4A312196F03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xmlns="" id="{66986A4A-BF84-44C5-9A75-B9C7B9DB09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8813" y="920750"/>
            <a:ext cx="5945187" cy="593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86816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>
            <a:extLst>
              <a:ext uri="{FF2B5EF4-FFF2-40B4-BE49-F238E27FC236}">
                <a16:creationId xmlns:a16="http://schemas.microsoft.com/office/drawing/2014/main" xmlns="" id="{83040B18-91A1-42D4-AEE8-8F2CFD900A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>
            <a:extLst>
              <a:ext uri="{FF2B5EF4-FFF2-40B4-BE49-F238E27FC236}">
                <a16:creationId xmlns:a16="http://schemas.microsoft.com/office/drawing/2014/main" xmlns="" id="{278C11C8-DDC7-4455-A782-187B7D4B47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889375" y="2746375"/>
            <a:ext cx="1365250" cy="136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34655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 Box_Minimum Text-11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85425BC5-DB65-4D99-AFBA-F5C2F82B92B1}"/>
              </a:ext>
            </a:extLst>
          </p:cNvPr>
          <p:cNvSpPr/>
          <p:nvPr userDrawn="1"/>
        </p:nvSpPr>
        <p:spPr>
          <a:xfrm>
            <a:off x="7178675" y="6237288"/>
            <a:ext cx="1719263" cy="463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22A19109-F83D-4942-98A5-9874EA7D7BE1}"/>
              </a:ext>
            </a:extLst>
          </p:cNvPr>
          <p:cNvSpPr/>
          <p:nvPr userDrawn="1"/>
        </p:nvSpPr>
        <p:spPr>
          <a:xfrm>
            <a:off x="7178675" y="6237288"/>
            <a:ext cx="1719263" cy="463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027A9859-067F-43F7-9EB6-0048CA10A74D}"/>
              </a:ext>
            </a:extLst>
          </p:cNvPr>
          <p:cNvSpPr/>
          <p:nvPr userDrawn="1"/>
        </p:nvSpPr>
        <p:spPr>
          <a:xfrm>
            <a:off x="7164388" y="6229350"/>
            <a:ext cx="1760537" cy="430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Text Box 18">
            <a:extLst>
              <a:ext uri="{FF2B5EF4-FFF2-40B4-BE49-F238E27FC236}">
                <a16:creationId xmlns:a16="http://schemas.microsoft.com/office/drawing/2014/main" xmlns="" id="{C58BDBB9-9300-407E-B3D6-2ECFAFE2BDC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69063" y="6194425"/>
            <a:ext cx="2455862" cy="465138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E75502EF-D688-4BA8-B63B-CA3052291DC8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Facilitating Effective Meeting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FEM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727200"/>
            <a:ext cx="4114800" cy="4237038"/>
          </a:xfrm>
        </p:spPr>
        <p:txBody>
          <a:bodyPr/>
          <a:lstStyle>
            <a:lvl1pPr>
              <a:spcBef>
                <a:spcPts val="1100"/>
              </a:spcBef>
              <a:defRPr sz="2000">
                <a:solidFill>
                  <a:schemeClr val="tx1"/>
                </a:solidFill>
              </a:defRPr>
            </a:lvl1pPr>
            <a:lvl2pPr marL="225425" indent="-223838">
              <a:spcBef>
                <a:spcPts val="1100"/>
              </a:spcBef>
              <a:buClr>
                <a:schemeClr val="tx1"/>
              </a:buClr>
              <a:defRPr sz="1800">
                <a:solidFill>
                  <a:schemeClr val="tx1"/>
                </a:solidFill>
              </a:defRPr>
            </a:lvl2pPr>
            <a:lvl3pPr marL="461963" indent="-236538">
              <a:spcBef>
                <a:spcPts val="1100"/>
              </a:spcBef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 marL="688975" indent="-227013">
              <a:spcBef>
                <a:spcPts val="11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697413" y="1727200"/>
            <a:ext cx="4114800" cy="4237038"/>
          </a:xfrm>
        </p:spPr>
        <p:txBody>
          <a:bodyPr/>
          <a:lstStyle>
            <a:lvl1pPr>
              <a:spcBef>
                <a:spcPts val="1100"/>
              </a:spcBef>
              <a:defRPr sz="2000">
                <a:solidFill>
                  <a:schemeClr val="tx1"/>
                </a:solidFill>
              </a:defRPr>
            </a:lvl1pPr>
            <a:lvl2pPr marL="225425" indent="-223838">
              <a:spcBef>
                <a:spcPts val="1100"/>
              </a:spcBef>
              <a:buClr>
                <a:schemeClr val="tx1"/>
              </a:buClr>
              <a:defRPr sz="1800">
                <a:solidFill>
                  <a:schemeClr val="tx1"/>
                </a:solidFill>
              </a:defRPr>
            </a:lvl2pPr>
            <a:lvl3pPr marL="461963" indent="-236538">
              <a:spcBef>
                <a:spcPts val="1100"/>
              </a:spcBef>
              <a:buClr>
                <a:schemeClr val="tx1"/>
              </a:buClr>
              <a:defRPr sz="1600">
                <a:solidFill>
                  <a:schemeClr val="tx1"/>
                </a:solidFill>
              </a:defRPr>
            </a:lvl3pPr>
            <a:lvl4pPr marL="688975" indent="-227013">
              <a:spcBef>
                <a:spcPts val="11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34974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219416DB-1DC9-4627-B240-01FD46EC565E}"/>
              </a:ext>
            </a:extLst>
          </p:cNvPr>
          <p:cNvSpPr/>
          <p:nvPr userDrawn="1"/>
        </p:nvSpPr>
        <p:spPr>
          <a:xfrm>
            <a:off x="7164388" y="6229350"/>
            <a:ext cx="1760537" cy="430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Text Box 18">
            <a:extLst>
              <a:ext uri="{FF2B5EF4-FFF2-40B4-BE49-F238E27FC236}">
                <a16:creationId xmlns:a16="http://schemas.microsoft.com/office/drawing/2014/main" xmlns="" id="{B7A260BE-7E20-43CD-8516-DABD32A62D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69063" y="6194425"/>
            <a:ext cx="2455862" cy="465138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42BF42D5-CC1C-4786-AB24-A6D2FF495605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Facilitating Effective Meeting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FEM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87883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E Crotonville_Course Presentation Slides Template_Oct 2014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3AB113A1-EC86-4E1F-9C90-464AF5FDF3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6875" y="6175375"/>
            <a:ext cx="2070100" cy="33813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600" b="1">
                <a:solidFill>
                  <a:srgbClr val="005CB9"/>
                </a:solidFill>
                <a:latin typeface="GE Inspira Pitch"/>
              </a:rPr>
              <a:t>Imagination at work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xmlns="" id="{5C55A765-CA13-4BF6-AB0D-E038E09FE4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75" y="0"/>
            <a:ext cx="3794125" cy="285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xmlns="" id="{0D9CF0E3-7DE1-4397-9BA9-D902C7D01C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6625"/>
            <a:ext cx="4383088" cy="191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3482975"/>
            <a:ext cx="8318500" cy="1470025"/>
          </a:xfrm>
        </p:spPr>
        <p:txBody>
          <a:bodyPr/>
          <a:lstStyle>
            <a:lvl1pPr>
              <a:lnSpc>
                <a:spcPct val="90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4048" y="5001768"/>
            <a:ext cx="6316112" cy="762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53338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E92061D1-09B9-4CF7-B4D6-950CD1A6EAB1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F614DFC8-45B4-4326-86BD-AE0931BD62C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538913" y="6432550"/>
            <a:ext cx="2455862" cy="361950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algn="r" defTabSz="4572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E5E99C8C-1273-4453-84BC-CF1F5849E9EF}" type="slidenum">
              <a:rPr lang="en-US" sz="1050" b="1">
                <a:solidFill>
                  <a:srgbClr val="005CB9"/>
                </a:solidFill>
                <a:latin typeface="Calibri"/>
              </a:rPr>
              <a:pPr algn="r" defTabSz="4572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US" sz="1050" b="1">
                <a:solidFill>
                  <a:srgbClr val="005CB9"/>
                </a:solidFill>
                <a:latin typeface="Calibri"/>
              </a:rPr>
              <a:t> </a:t>
            </a:r>
          </a:p>
          <a:p>
            <a:pPr algn="r" defTabSz="4572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>
                <a:solidFill>
                  <a:srgbClr val="005CB9"/>
                </a:solidFill>
                <a:latin typeface="Calibri"/>
              </a:rPr>
              <a:t>Hamilton Crotonville Visit - 2016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1627632"/>
            <a:ext cx="8347202" cy="4346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096317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>
            <a:extLst>
              <a:ext uri="{FF2B5EF4-FFF2-40B4-BE49-F238E27FC236}">
                <a16:creationId xmlns:a16="http://schemas.microsoft.com/office/drawing/2014/main" xmlns="" id="{BDF6A607-3C5E-4E29-99FE-BE514A55A25A}"/>
              </a:ext>
            </a:extLst>
          </p:cNvPr>
          <p:cNvGrpSpPr>
            <a:grpSpLocks/>
          </p:cNvGrpSpPr>
          <p:nvPr/>
        </p:nvGrpSpPr>
        <p:grpSpPr bwMode="auto">
          <a:xfrm>
            <a:off x="674688" y="676275"/>
            <a:ext cx="7793037" cy="5254625"/>
            <a:chOff x="685800" y="685799"/>
            <a:chExt cx="7793039" cy="5254628"/>
          </a:xfrm>
        </p:grpSpPr>
        <p:cxnSp>
          <p:nvCxnSpPr>
            <p:cNvPr id="3" name="Straight Connector 2">
              <a:extLst>
                <a:ext uri="{FF2B5EF4-FFF2-40B4-BE49-F238E27FC236}">
                  <a16:creationId xmlns:a16="http://schemas.microsoft.com/office/drawing/2014/main" xmlns="" id="{35B262DD-55BC-4D82-A8BC-BA6F2E5B4145}"/>
                </a:ext>
              </a:extLst>
            </p:cNvPr>
            <p:cNvCxnSpPr/>
            <p:nvPr/>
          </p:nvCxnSpPr>
          <p:spPr>
            <a:xfrm>
              <a:off x="685800" y="685799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xmlns="" id="{83B2AA61-7B6E-419A-8FFC-0EE3EAACCDAD}"/>
                </a:ext>
              </a:extLst>
            </p:cNvPr>
            <p:cNvCxnSpPr/>
            <p:nvPr/>
          </p:nvCxnSpPr>
          <p:spPr>
            <a:xfrm>
              <a:off x="685800" y="1897063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62D2230E-645C-4E65-AD77-2F010C804E69}"/>
                </a:ext>
              </a:extLst>
            </p:cNvPr>
            <p:cNvCxnSpPr/>
            <p:nvPr/>
          </p:nvCxnSpPr>
          <p:spPr>
            <a:xfrm>
              <a:off x="685800" y="5916615"/>
              <a:ext cx="7793039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96ED2F83-2B24-471C-BD72-B5B14D6CE3D2}"/>
                </a:ext>
              </a:extLst>
            </p:cNvPr>
            <p:cNvCxnSpPr/>
            <p:nvPr/>
          </p:nvCxnSpPr>
          <p:spPr>
            <a:xfrm rot="5400000" flipH="1" flipV="1">
              <a:off x="5851524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19AC4396-246F-4A6A-8941-8C384799F796}"/>
                </a:ext>
              </a:extLst>
            </p:cNvPr>
            <p:cNvCxnSpPr/>
            <p:nvPr/>
          </p:nvCxnSpPr>
          <p:spPr>
            <a:xfrm rot="5400000" flipH="1" flipV="1">
              <a:off x="-1941515" y="3313114"/>
              <a:ext cx="5254628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097089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orytelling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94" y="551747"/>
            <a:ext cx="8352156" cy="102100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94" y="2395728"/>
            <a:ext cx="8347202" cy="3654997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 marL="284163" indent="-263525">
              <a:defRPr sz="2800"/>
            </a:lvl2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720299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1627632"/>
            <a:ext cx="8347202" cy="4346825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108757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Text 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C62A3EEF-3528-4EB2-8F43-1646A818545A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1B3C232E-3A42-4CFA-9AB2-CF15E2DE189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8DAD58A9-04F6-4C18-86D3-E0432E784F6B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668" y="1657668"/>
            <a:ext cx="8347202" cy="4324350"/>
          </a:xfrm>
        </p:spPr>
        <p:txBody>
          <a:bodyPr rtlCol="0">
            <a:noAutofit/>
          </a:bodyPr>
          <a:lstStyle>
            <a:lvl1pPr>
              <a:spcAft>
                <a:spcPts val="0"/>
              </a:spcAft>
              <a:defRPr lang="en-US" sz="2000" dirty="0" smtClean="0"/>
            </a:lvl1pPr>
            <a:lvl2pPr marL="193675" indent="-182563">
              <a:defRPr lang="en-US" dirty="0" smtClean="0"/>
            </a:lvl2pPr>
            <a:lvl3pPr marL="400050" indent="-195263">
              <a:defRPr lang="en-US" sz="1800" dirty="0" smtClean="0"/>
            </a:lvl3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4566478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Text Heavy 1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6C2897FD-CACD-43E5-951B-3263F06170D0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92AB386D-9CEA-47BC-B5E7-4557259FC5B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F1D549FF-60FC-476E-BFFC-67A04AD894E4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94" y="552450"/>
            <a:ext cx="8352156" cy="527753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668" y="1080008"/>
            <a:ext cx="8347202" cy="4585145"/>
          </a:xfrm>
        </p:spPr>
        <p:txBody>
          <a:bodyPr rtlCol="0">
            <a:noAutofit/>
          </a:bodyPr>
          <a:lstStyle>
            <a:lvl1pPr>
              <a:spcAft>
                <a:spcPts val="0"/>
              </a:spcAft>
              <a:defRPr lang="en-US" sz="2000" dirty="0" smtClean="0"/>
            </a:lvl1pPr>
            <a:lvl2pPr marL="193675" indent="-182563">
              <a:defRPr lang="en-US" dirty="0" smtClean="0"/>
            </a:lvl2pPr>
            <a:lvl3pPr marL="400050" indent="-195263">
              <a:defRPr lang="en-US" sz="1800" dirty="0" smtClean="0"/>
            </a:lvl3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07972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A413F44-A12B-422F-AF4D-F4B4B2169123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Box 18">
            <a:extLst>
              <a:ext uri="{FF2B5EF4-FFF2-40B4-BE49-F238E27FC236}">
                <a16:creationId xmlns:a16="http://schemas.microsoft.com/office/drawing/2014/main" xmlns="" id="{DC08DF8C-4D26-432D-9C97-EC4E9B34DB8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72F6004D-FC78-4289-B03D-7D3DF66CBFA7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1795" y="1656685"/>
            <a:ext cx="3896043" cy="4396453"/>
          </a:xfrm>
        </p:spPr>
        <p:txBody>
          <a:bodyPr rtlCol="0">
            <a:noAutofit/>
          </a:bodyPr>
          <a:lstStyle>
            <a:lvl1pPr>
              <a:spcBef>
                <a:spcPts val="1000"/>
              </a:spcBef>
              <a:defRPr lang="en-US" sz="2000" dirty="0" smtClean="0"/>
            </a:lvl1pPr>
            <a:lvl2pPr>
              <a:spcBef>
                <a:spcPts val="800"/>
              </a:spcBef>
              <a:defRPr lang="en-US" sz="1800" dirty="0" smtClean="0"/>
            </a:lvl2pPr>
            <a:lvl3pPr>
              <a:spcBef>
                <a:spcPts val="600"/>
              </a:spcBef>
              <a:defRPr lang="en-US" sz="1600" dirty="0" smtClean="0"/>
            </a:lvl3pPr>
            <a:lvl4pPr>
              <a:spcBef>
                <a:spcPts val="400"/>
              </a:spcBef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1080" y="1656685"/>
            <a:ext cx="3900170" cy="4396453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564018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1795" y="1634490"/>
            <a:ext cx="3904488" cy="373062"/>
          </a:xfrm>
        </p:spPr>
        <p:txBody>
          <a:bodyPr rIns="182880"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1795" y="2071639"/>
            <a:ext cx="3904488" cy="3811319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31080" y="1634490"/>
            <a:ext cx="3900170" cy="373062"/>
          </a:xfrm>
        </p:spPr>
        <p:txBody>
          <a:bodyPr rIns="182880"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31080" y="2071639"/>
            <a:ext cx="3900170" cy="3811319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174959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0" y="1728788"/>
            <a:ext cx="4495800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4644390" y="1728788"/>
            <a:ext cx="4498848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0" y="3962196"/>
            <a:ext cx="4495800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644390" y="3962196"/>
            <a:ext cx="4498848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792060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1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2529840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>
          <a:xfrm>
            <a:off x="4644390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5"/>
          </p:nvPr>
        </p:nvSpPr>
        <p:spPr>
          <a:xfrm>
            <a:off x="6758940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9258499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1727805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398463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7510" y="2263518"/>
            <a:ext cx="3890328" cy="1525992"/>
          </a:xfrm>
        </p:spPr>
        <p:txBody>
          <a:bodyPr rIns="182880" rtlCol="0">
            <a:noAutofit/>
          </a:bodyPr>
          <a:lstStyle>
            <a:lvl1pPr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390" y="1727805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182563" indent="0">
              <a:spcBef>
                <a:spcPts val="0"/>
              </a:spcBef>
              <a:buNone/>
              <a:tabLst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26538" y="2263518"/>
            <a:ext cx="3895344" cy="1525992"/>
          </a:xfrm>
        </p:spPr>
        <p:txBody>
          <a:bodyPr rIns="182880" rtlCol="0">
            <a:noAutofit/>
          </a:bodyPr>
          <a:lstStyle>
            <a:lvl1pPr marL="0" indent="0"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3991433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400050" indent="0">
              <a:spcBef>
                <a:spcPts val="0"/>
              </a:spcBef>
              <a:buNone/>
              <a:tabLst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15"/>
          </p:nvPr>
        </p:nvSpPr>
        <p:spPr>
          <a:xfrm>
            <a:off x="397511" y="4527146"/>
            <a:ext cx="3890328" cy="1525992"/>
          </a:xfrm>
        </p:spPr>
        <p:txBody>
          <a:bodyPr rIns="182880" rtlCol="0">
            <a:noAutofit/>
          </a:bodyPr>
          <a:lstStyle>
            <a:lvl1pPr marL="0" indent="0"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644390" y="3991433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180975" indent="0">
              <a:spcBef>
                <a:spcPts val="0"/>
              </a:spcBef>
              <a:buNone/>
              <a:tabLst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7" name="Content Placeholder 5"/>
          <p:cNvSpPr>
            <a:spLocks noGrp="1"/>
          </p:cNvSpPr>
          <p:nvPr>
            <p:ph sz="quarter" idx="17"/>
          </p:nvPr>
        </p:nvSpPr>
        <p:spPr>
          <a:xfrm>
            <a:off x="4826538" y="4527146"/>
            <a:ext cx="3895344" cy="1525992"/>
          </a:xfrm>
        </p:spPr>
        <p:txBody>
          <a:bodyPr rIns="182880" rtlCol="0">
            <a:noAutofit/>
          </a:bodyPr>
          <a:lstStyle>
            <a:lvl1pPr marL="0" indent="0"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943875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12750" y="1911350"/>
            <a:ext cx="8318500" cy="3803650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ko-KR" noProof="0"/>
              <a:t>Click icon to add chart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485131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CB Bullet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8024812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599690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12750" y="1728788"/>
            <a:ext cx="8318500" cy="4324350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ko-KR" noProof="0"/>
              <a:t>Click icon to add tab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369985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3C5BE2D-1F87-4958-9D83-4655E55A4633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ext Box 18">
            <a:extLst>
              <a:ext uri="{FF2B5EF4-FFF2-40B4-BE49-F238E27FC236}">
                <a16:creationId xmlns:a16="http://schemas.microsoft.com/office/drawing/2014/main" xmlns="" id="{7C6FB004-C8FD-4623-98C8-4217BDA34A7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330A0162-6BB8-457E-BB79-E7D451805BA1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9946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Text -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6F04CB4-A79F-4E75-89BF-EE3672E1CEDD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Box 18">
            <a:extLst>
              <a:ext uri="{FF2B5EF4-FFF2-40B4-BE49-F238E27FC236}">
                <a16:creationId xmlns:a16="http://schemas.microsoft.com/office/drawing/2014/main" xmlns="" id="{07C67F1F-CB81-4A6D-AFE6-79B602BEE0C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887BC139-D431-49D1-9A05-A02EDAFDC088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41900" y="1655444"/>
            <a:ext cx="3689350" cy="4397693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1728788"/>
            <a:ext cx="4514850" cy="432435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34009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/ Titl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72998B37-91BB-43B8-9FE4-7323666D8B02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Box 18">
            <a:extLst>
              <a:ext uri="{FF2B5EF4-FFF2-40B4-BE49-F238E27FC236}">
                <a16:creationId xmlns:a16="http://schemas.microsoft.com/office/drawing/2014/main" xmlns="" id="{8E25FE4E-4897-4CE1-B93D-8EDE4E81A72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CC86FF02-3F1F-428E-9CFA-59121B4B8768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728788"/>
            <a:ext cx="9144000" cy="432435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94" y="552450"/>
            <a:ext cx="8352156" cy="102100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79094" y="1794739"/>
            <a:ext cx="8318500" cy="1395412"/>
          </a:xfrm>
        </p:spPr>
        <p:txBody>
          <a:bodyPr/>
          <a:lstStyle>
            <a:lvl1pPr>
              <a:defRPr sz="32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25062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/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E8890840-1E3E-4E65-AAA8-08168EF34F9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42075" y="6229350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9B3F51CB-8DCA-4BEB-B2B3-23D6DACC3407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Course Name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728788"/>
            <a:ext cx="9144000" cy="5129212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 bwMode="gray">
          <a:xfrm>
            <a:off x="384048" y="1792224"/>
            <a:ext cx="8318500" cy="1395412"/>
          </a:xfrm>
        </p:spPr>
        <p:txBody>
          <a:bodyPr/>
          <a:lstStyle>
            <a:lvl1pPr>
              <a:defRPr sz="32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327148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solidFill>
            <a:schemeClr val="bg1">
              <a:lumMod val="95000"/>
            </a:schemeClr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sz="4000" spc="0" baseline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03063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bg>
      <p:bgPr>
        <a:solidFill>
          <a:srgbClr val="0E46A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xmlns="" id="{50585070-B12B-4CBE-93AD-0CB77C3BDF4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xmlns="" id="{83B4528E-3CDD-4AFA-90BC-FAEF72AB7CA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163" y="4240213"/>
            <a:ext cx="7208837" cy="261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114160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xmlns="" id="{8F0AB799-1A3D-46E1-B96D-F7CBE4D32A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241834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en">
    <p:bg>
      <p:bgPr>
        <a:solidFill>
          <a:srgbClr val="40A0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xmlns="" id="{9A1B9F14-0940-40CF-AE9A-608BAF636E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xmlns="" id="{0A9D1F0A-72F4-4CCF-BD9C-F1CF50F6202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163" y="4240213"/>
            <a:ext cx="7208837" cy="261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979594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 Orange">
    <p:bg>
      <p:bgPr>
        <a:solidFill>
          <a:srgbClr val="F183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xmlns="" id="{2661363C-315F-442F-AEC2-9414048CCC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07410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CB Bulle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7"/>
          <p:cNvSpPr>
            <a:spLocks noGrp="1"/>
          </p:cNvSpPr>
          <p:nvPr>
            <p:ph idx="1"/>
          </p:nvPr>
        </p:nvSpPr>
        <p:spPr bwMode="auto">
          <a:xfrm>
            <a:off x="684213" y="1814513"/>
            <a:ext cx="3887787" cy="4525962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228600" indent="-22860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idx="10"/>
          </p:nvPr>
        </p:nvSpPr>
        <p:spPr bwMode="auto">
          <a:xfrm>
            <a:off x="4699000" y="1887537"/>
            <a:ext cx="3790950" cy="40306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90678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Purple">
    <p:bg>
      <p:bgPr>
        <a:solidFill>
          <a:srgbClr val="4942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xmlns="" id="{B5102F53-364E-41C9-AF14-5B3F07E5D2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36175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A30F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xmlns="" id="{37A976B6-D2C6-4D36-80C2-EB709143A1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xmlns="" id="{BE8C53C6-F054-4917-866C-B24F71DE59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163" y="4240213"/>
            <a:ext cx="7208837" cy="261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44557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rgbClr val="4547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>
            <a:extLst>
              <a:ext uri="{FF2B5EF4-FFF2-40B4-BE49-F238E27FC236}">
                <a16:creationId xmlns:a16="http://schemas.microsoft.com/office/drawing/2014/main" xmlns="" id="{F24ACD0D-596B-4906-85B3-C18B53F999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411163" y="6218238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xmlns="" id="{35D1698C-D3C2-41F5-AADD-F8E2D0EAD4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8813" y="920750"/>
            <a:ext cx="5945187" cy="593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618488"/>
            <a:ext cx="8318500" cy="2624288"/>
          </a:xfrm>
        </p:spPr>
        <p:txBody>
          <a:bodyPr/>
          <a:lstStyle>
            <a:lvl1pPr algn="l">
              <a:defRPr sz="5400" b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023418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>
            <a:extLst>
              <a:ext uri="{FF2B5EF4-FFF2-40B4-BE49-F238E27FC236}">
                <a16:creationId xmlns:a16="http://schemas.microsoft.com/office/drawing/2014/main" xmlns="" id="{2598E04E-F352-4901-BF1A-43E556DA2D2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98BC9FF9-4164-42C5-B3AC-88A184A748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889375" y="2746375"/>
            <a:ext cx="1365250" cy="136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952092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8">
            <a:extLst>
              <a:ext uri="{FF2B5EF4-FFF2-40B4-BE49-F238E27FC236}">
                <a16:creationId xmlns:a16="http://schemas.microsoft.com/office/drawing/2014/main" xmlns="" id="{1AC98ED6-7863-4499-8972-D6CF829175B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42075" y="6229350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>
              <a:lnSpc>
                <a:spcPct val="90000"/>
              </a:lnSpc>
              <a:defRPr/>
            </a:pPr>
            <a:fld id="{BA9F37F5-3BB4-4C1D-AF31-2D7E007C7E3B}" type="slidenum">
              <a:rPr lang="en-US" altLang="en-US" sz="900" smtClean="0">
                <a:solidFill>
                  <a:srgbClr val="1E4191"/>
                </a:solidFill>
              </a:rPr>
              <a:pPr algn="r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1E4191"/>
                </a:solidFill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1E4191"/>
                </a:solidFill>
              </a:rPr>
              <a:t>Building Essential Leadership Skills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1E4191"/>
                </a:solidFill>
              </a:rPr>
              <a:t>© General Electric 2014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C8B087F-C326-47F6-A0AD-78A5000285B4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F108689F-6780-417C-94F2-5C87E39E42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0E869E6C-5BFC-4859-BF28-B088C0869504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2900" y="280988"/>
            <a:ext cx="8459788" cy="9985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514011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2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GEMeatball&amp;Tag">
            <a:extLst>
              <a:ext uri="{FF2B5EF4-FFF2-40B4-BE49-F238E27FC236}">
                <a16:creationId xmlns:a16="http://schemas.microsoft.com/office/drawing/2014/main" xmlns="" id="{FC3F6B4B-FC23-44D3-9260-5BE14D09B38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19088" y="6088063"/>
            <a:ext cx="1608137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800" y="280800"/>
            <a:ext cx="8460000" cy="997200"/>
          </a:xfrm>
        </p:spPr>
        <p:txBody>
          <a:bodyPr/>
          <a:lstStyle>
            <a:lvl1pPr algn="l">
              <a:defRPr sz="40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2800" y="1391067"/>
            <a:ext cx="8460000" cy="997200"/>
          </a:xfrm>
        </p:spPr>
        <p:txBody>
          <a:bodyPr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45802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GE Crotonville_Course Presentation Slides Template_Oct 2014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FBCB1C0A-FDBC-4FC5-994C-C62AA4F1055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96875" y="6175375"/>
            <a:ext cx="2070100" cy="33813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600" b="1">
                <a:solidFill>
                  <a:srgbClr val="005CB9"/>
                </a:solidFill>
                <a:latin typeface="GE Inspira Pitch"/>
              </a:rPr>
              <a:t>Imagination at work</a:t>
            </a: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xmlns="" id="{F0A07B83-380B-4714-98D7-2DB8A681BA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75" y="0"/>
            <a:ext cx="3794125" cy="285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>
            <a:extLst>
              <a:ext uri="{FF2B5EF4-FFF2-40B4-BE49-F238E27FC236}">
                <a16:creationId xmlns:a16="http://schemas.microsoft.com/office/drawing/2014/main" xmlns="" id="{E6A45F41-8FCD-4B11-89B3-25A76B757C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36625"/>
            <a:ext cx="4383088" cy="191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0" y="3482975"/>
            <a:ext cx="8318500" cy="1470025"/>
          </a:xfrm>
        </p:spPr>
        <p:txBody>
          <a:bodyPr/>
          <a:lstStyle>
            <a:lvl1pPr>
              <a:lnSpc>
                <a:spcPct val="90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4048" y="5001768"/>
            <a:ext cx="6316112" cy="762000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334596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DCC402E-8023-458F-9279-505DE516EF69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B3D89491-DB6A-42BE-9709-A3A514F4DC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538913" y="6351588"/>
            <a:ext cx="2455862" cy="382587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/>
          <a:p>
            <a:pPr algn="r" defTabSz="4572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fld id="{D39C66F6-56FD-45A1-AC61-52C052AB66F7}" type="slidenum">
              <a:rPr lang="en-US" sz="1050" b="1">
                <a:solidFill>
                  <a:srgbClr val="005CB9"/>
                </a:solidFill>
                <a:latin typeface="Calibri"/>
              </a:rPr>
              <a:pPr algn="r" defTabSz="457200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US" sz="1050" b="1">
                <a:solidFill>
                  <a:srgbClr val="005CB9"/>
                </a:solidFill>
                <a:latin typeface="Calibri"/>
              </a:rPr>
              <a:t> </a:t>
            </a:r>
          </a:p>
          <a:p>
            <a:pPr algn="r" defTabSz="457200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>
                <a:solidFill>
                  <a:srgbClr val="005CB9"/>
                </a:solidFill>
                <a:latin typeface="Calibri"/>
              </a:rPr>
              <a:t>Advocate Health Care</a:t>
            </a:r>
            <a:endParaRPr lang="en-US" sz="900">
              <a:solidFill>
                <a:srgbClr val="005CB9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1627632"/>
            <a:ext cx="8347202" cy="43468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3857423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orytelling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94" y="551747"/>
            <a:ext cx="8352156" cy="102100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94" y="2395728"/>
            <a:ext cx="8347202" cy="3654997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 marL="284163" indent="-263525">
              <a:defRPr sz="2800"/>
            </a:lvl2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8884466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1627632"/>
            <a:ext cx="8347202" cy="4346825"/>
          </a:xfrm>
        </p:spPr>
        <p:txBody>
          <a:bodyPr/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920241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299967"/>
            <a:ext cx="7772400" cy="4541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3840" y="1749490"/>
            <a:ext cx="7772400" cy="60182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1388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Text He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72BBE9E5-510C-46FC-A81D-9F18284FAB7C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51C0BDB6-1A8B-420C-AB8D-AF9F1D07D65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641A933C-D33B-440A-83C6-75AEBD9698E3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668" y="1657668"/>
            <a:ext cx="8347202" cy="4324350"/>
          </a:xfrm>
        </p:spPr>
        <p:txBody>
          <a:bodyPr rtlCol="0">
            <a:noAutofit/>
          </a:bodyPr>
          <a:lstStyle>
            <a:lvl1pPr>
              <a:spcAft>
                <a:spcPts val="0"/>
              </a:spcAft>
              <a:defRPr lang="en-US" sz="2000" dirty="0" smtClean="0"/>
            </a:lvl1pPr>
            <a:lvl2pPr marL="193675" indent="-182563">
              <a:defRPr lang="en-US" dirty="0" smtClean="0"/>
            </a:lvl2pPr>
            <a:lvl3pPr marL="400050" indent="-195263">
              <a:defRPr lang="en-US" sz="1800" dirty="0" smtClean="0"/>
            </a:lvl3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242462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Text Heavy 1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629EE2E-706E-4B2E-855B-3F008ECFA94C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Text Box 18">
            <a:extLst>
              <a:ext uri="{FF2B5EF4-FFF2-40B4-BE49-F238E27FC236}">
                <a16:creationId xmlns:a16="http://schemas.microsoft.com/office/drawing/2014/main" xmlns="" id="{ACD84C23-C468-4E74-A6C1-DA2F16C5130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9C0E6804-43A2-4EC6-918E-FF9456954702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094" y="552450"/>
            <a:ext cx="8352156" cy="527753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668" y="1080008"/>
            <a:ext cx="8347202" cy="4585145"/>
          </a:xfrm>
        </p:spPr>
        <p:txBody>
          <a:bodyPr rtlCol="0">
            <a:noAutofit/>
          </a:bodyPr>
          <a:lstStyle>
            <a:lvl1pPr>
              <a:spcAft>
                <a:spcPts val="0"/>
              </a:spcAft>
              <a:defRPr lang="en-US" sz="2000" dirty="0" smtClean="0"/>
            </a:lvl1pPr>
            <a:lvl2pPr marL="193675" indent="-182563">
              <a:defRPr lang="en-US" dirty="0" smtClean="0"/>
            </a:lvl2pPr>
            <a:lvl3pPr marL="400050" indent="-195263">
              <a:defRPr lang="en-US" sz="1800" dirty="0" smtClean="0"/>
            </a:lvl3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7620898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E302726-E3EF-4191-BB89-202304AB3F18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Box 18">
            <a:extLst>
              <a:ext uri="{FF2B5EF4-FFF2-40B4-BE49-F238E27FC236}">
                <a16:creationId xmlns:a16="http://schemas.microsoft.com/office/drawing/2014/main" xmlns="" id="{220ACD89-4049-467F-8FD3-2250D0BF5A6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F1C3FCC8-684A-43D3-BCF4-58AED9F71A61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1795" y="1656685"/>
            <a:ext cx="3896043" cy="4396453"/>
          </a:xfrm>
        </p:spPr>
        <p:txBody>
          <a:bodyPr rtlCol="0">
            <a:noAutofit/>
          </a:bodyPr>
          <a:lstStyle>
            <a:lvl1pPr>
              <a:spcBef>
                <a:spcPts val="1000"/>
              </a:spcBef>
              <a:defRPr lang="en-US" sz="2000" dirty="0" smtClean="0"/>
            </a:lvl1pPr>
            <a:lvl2pPr>
              <a:spcBef>
                <a:spcPts val="800"/>
              </a:spcBef>
              <a:defRPr lang="en-US" sz="1800" dirty="0" smtClean="0"/>
            </a:lvl2pPr>
            <a:lvl3pPr>
              <a:spcBef>
                <a:spcPts val="600"/>
              </a:spcBef>
              <a:defRPr lang="en-US" sz="1600" dirty="0" smtClean="0"/>
            </a:lvl3pPr>
            <a:lvl4pPr>
              <a:spcBef>
                <a:spcPts val="400"/>
              </a:spcBef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1080" y="1656685"/>
            <a:ext cx="3900170" cy="4396453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975391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1795" y="1634490"/>
            <a:ext cx="3904488" cy="373062"/>
          </a:xfrm>
        </p:spPr>
        <p:txBody>
          <a:bodyPr rIns="182880"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1795" y="2071639"/>
            <a:ext cx="3904488" cy="3811319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31080" y="1634490"/>
            <a:ext cx="3900170" cy="373062"/>
          </a:xfrm>
        </p:spPr>
        <p:txBody>
          <a:bodyPr rIns="182880"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31080" y="2071639"/>
            <a:ext cx="3900170" cy="3811319"/>
          </a:xfrm>
        </p:spPr>
        <p:txBody>
          <a:bodyPr rtlCol="0">
            <a:noAutofit/>
          </a:bodyPr>
          <a:lstStyle>
            <a:lvl1pPr>
              <a:defRPr lang="en-US" sz="2000" dirty="0" smtClean="0"/>
            </a:lvl1pPr>
            <a:lvl2pPr>
              <a:defRPr lang="en-US" sz="1800" dirty="0" smtClean="0"/>
            </a:lvl2pPr>
            <a:lvl3pPr>
              <a:defRPr lang="en-US" sz="16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954461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0" y="1728788"/>
            <a:ext cx="4495800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3"/>
          </p:nvPr>
        </p:nvSpPr>
        <p:spPr>
          <a:xfrm>
            <a:off x="4644390" y="1728788"/>
            <a:ext cx="4498848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0" y="3962196"/>
            <a:ext cx="4495800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4644390" y="3962196"/>
            <a:ext cx="4498848" cy="2084832"/>
          </a:xfrm>
          <a:solidFill>
            <a:schemeClr val="tx2"/>
          </a:solidFill>
        </p:spPr>
        <p:txBody>
          <a:bodyPr lIns="182880" tIns="118872" rIns="182880"/>
          <a:lstStyle>
            <a:lvl1pPr marL="212725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381000" indent="-158750">
              <a:lnSpc>
                <a:spcPct val="100000"/>
              </a:lnSpc>
              <a:spcBef>
                <a:spcPts val="1000"/>
              </a:spcBef>
              <a:defRPr lang="en-US" sz="18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7500308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2751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3"/>
          </p:nvPr>
        </p:nvSpPr>
        <p:spPr>
          <a:xfrm>
            <a:off x="2529840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4"/>
          </p:nvPr>
        </p:nvSpPr>
        <p:spPr>
          <a:xfrm>
            <a:off x="4644390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5"/>
          </p:nvPr>
        </p:nvSpPr>
        <p:spPr>
          <a:xfrm>
            <a:off x="6758940" y="1728788"/>
            <a:ext cx="1965960" cy="4324350"/>
          </a:xfrm>
          <a:solidFill>
            <a:schemeClr val="tx2"/>
          </a:solidFill>
        </p:spPr>
        <p:txBody>
          <a:bodyPr lIns="182880" tIns="137160" rIns="182880"/>
          <a:lstStyle>
            <a:lvl1pPr marL="1588" indent="0">
              <a:lnSpc>
                <a:spcPct val="100000"/>
              </a:lnSpc>
              <a:spcBef>
                <a:spcPts val="600"/>
              </a:spcBef>
              <a:spcAft>
                <a:spcPts val="200"/>
              </a:spcAft>
              <a:defRPr lang="en-US" sz="2000" dirty="0" smtClean="0">
                <a:solidFill>
                  <a:schemeClr val="bg1"/>
                </a:solidFill>
              </a:defRPr>
            </a:lvl1pPr>
            <a:lvl2pPr marL="1588" indent="0">
              <a:lnSpc>
                <a:spcPct val="100000"/>
              </a:lnSpc>
              <a:spcBef>
                <a:spcPts val="1000"/>
              </a:spcBef>
              <a:buNone/>
              <a:defRPr lang="en-US" sz="1600" dirty="0" smtClean="0">
                <a:solidFill>
                  <a:schemeClr val="bg1"/>
                </a:solidFill>
              </a:defRPr>
            </a:lvl2pPr>
            <a:lvl3pPr marL="165100" indent="-165100">
              <a:defRPr lang="en-US" sz="1400" dirty="0" smtClean="0"/>
            </a:lvl3pPr>
            <a:lvl4pPr marL="311150" indent="-130175">
              <a:defRPr lang="en-US" sz="1400" dirty="0" smtClean="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5170104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0" y="1727805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398463" indent="0">
              <a:spcBef>
                <a:spcPts val="0"/>
              </a:spcBef>
              <a:buNone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7510" y="2263518"/>
            <a:ext cx="3890328" cy="1525992"/>
          </a:xfrm>
        </p:spPr>
        <p:txBody>
          <a:bodyPr rIns="182880" rtlCol="0">
            <a:noAutofit/>
          </a:bodyPr>
          <a:lstStyle>
            <a:lvl1pPr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4390" y="1727805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182563" indent="0">
              <a:spcBef>
                <a:spcPts val="0"/>
              </a:spcBef>
              <a:buNone/>
              <a:tabLst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26538" y="2263518"/>
            <a:ext cx="3895344" cy="1525992"/>
          </a:xfrm>
        </p:spPr>
        <p:txBody>
          <a:bodyPr rIns="182880" rtlCol="0">
            <a:noAutofit/>
          </a:bodyPr>
          <a:lstStyle>
            <a:lvl1pPr marL="0" indent="0"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0" y="3991433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400050" indent="0">
              <a:spcBef>
                <a:spcPts val="0"/>
              </a:spcBef>
              <a:buNone/>
              <a:tabLst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5" name="Content Placeholder 5"/>
          <p:cNvSpPr>
            <a:spLocks noGrp="1"/>
          </p:cNvSpPr>
          <p:nvPr>
            <p:ph sz="quarter" idx="15"/>
          </p:nvPr>
        </p:nvSpPr>
        <p:spPr>
          <a:xfrm>
            <a:off x="397511" y="4527146"/>
            <a:ext cx="3890328" cy="1525992"/>
          </a:xfrm>
        </p:spPr>
        <p:txBody>
          <a:bodyPr rIns="182880" rtlCol="0">
            <a:noAutofit/>
          </a:bodyPr>
          <a:lstStyle>
            <a:lvl1pPr marL="0" indent="0"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644390" y="3991433"/>
            <a:ext cx="4498848" cy="411480"/>
          </a:xfrm>
          <a:solidFill>
            <a:schemeClr val="bg2"/>
          </a:solidFill>
        </p:spPr>
        <p:txBody>
          <a:bodyPr rIns="182880" bIns="27432" anchor="ctr"/>
          <a:lstStyle>
            <a:lvl1pPr marL="180975" indent="0">
              <a:spcBef>
                <a:spcPts val="0"/>
              </a:spcBef>
              <a:buNone/>
              <a:tabLst/>
              <a:defRPr sz="1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ko-KR"/>
              <a:t>Click to edit Master text styles</a:t>
            </a:r>
          </a:p>
        </p:txBody>
      </p:sp>
      <p:sp>
        <p:nvSpPr>
          <p:cNvPr id="27" name="Content Placeholder 5"/>
          <p:cNvSpPr>
            <a:spLocks noGrp="1"/>
          </p:cNvSpPr>
          <p:nvPr>
            <p:ph sz="quarter" idx="17"/>
          </p:nvPr>
        </p:nvSpPr>
        <p:spPr>
          <a:xfrm>
            <a:off x="4826538" y="4527146"/>
            <a:ext cx="3895344" cy="1525992"/>
          </a:xfrm>
        </p:spPr>
        <p:txBody>
          <a:bodyPr rIns="182880" rtlCol="0">
            <a:noAutofit/>
          </a:bodyPr>
          <a:lstStyle>
            <a:lvl1pPr marL="0" indent="0">
              <a:lnSpc>
                <a:spcPct val="110000"/>
              </a:lnSpc>
              <a:spcBef>
                <a:spcPts val="400"/>
              </a:spcBef>
              <a:defRPr lang="en-US" sz="1800" dirty="0" smtClean="0"/>
            </a:lvl1pPr>
            <a:lvl2pPr>
              <a:defRPr lang="en-US" sz="2150" dirty="0" smtClean="0"/>
            </a:lvl2pPr>
            <a:lvl3pPr>
              <a:defRPr lang="en-US" sz="1400" dirty="0" smtClean="0"/>
            </a:lvl3pPr>
            <a:lvl4pPr>
              <a:defRPr lang="en-US" sz="1400" dirty="0" smtClean="0"/>
            </a:lvl4pPr>
          </a:lstStyle>
          <a:p>
            <a:pPr lvl="0"/>
            <a:r>
              <a:rPr lang="en-US" altLang="ko-KR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941027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12750" y="1911350"/>
            <a:ext cx="8318500" cy="3803650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ko-KR" noProof="0"/>
              <a:t>Click icon to add chart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3464054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12750" y="1728788"/>
            <a:ext cx="8318500" cy="4324350"/>
          </a:xfrm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altLang="ko-KR" noProof="0"/>
              <a:t>Click icon to add tab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8681324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8CAB359-A3CD-495F-A69B-575A85262929}"/>
              </a:ext>
            </a:extLst>
          </p:cNvPr>
          <p:cNvSpPr/>
          <p:nvPr userDrawn="1"/>
        </p:nvSpPr>
        <p:spPr>
          <a:xfrm>
            <a:off x="6953250" y="6246813"/>
            <a:ext cx="2135188" cy="431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ext Box 18">
            <a:extLst>
              <a:ext uri="{FF2B5EF4-FFF2-40B4-BE49-F238E27FC236}">
                <a16:creationId xmlns:a16="http://schemas.microsoft.com/office/drawing/2014/main" xmlns="" id="{8BA710DD-3802-4FE0-A59C-C56C8DD484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38900" y="6211888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3AF03326-343E-4555-BF71-B980F968BBBD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uilding Essential Leadership Skills 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– </a:t>
            </a:r>
            <a:r>
              <a:rPr lang="tr-TR" altLang="ko-KR" sz="900">
                <a:solidFill>
                  <a:srgbClr val="575757"/>
                </a:solidFill>
                <a:latin typeface="GE Inspira Pitch"/>
              </a:rPr>
              <a:t>BELS</a:t>
            </a: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altLang="ko-KR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940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hyperlink" Target="http://www.conference-board.org/" TargetMode="External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6.png"/><Relationship Id="rId18" Type="http://schemas.openxmlformats.org/officeDocument/2006/relationships/image" Target="../media/image11.png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10.xml"/><Relationship Id="rId12" Type="http://schemas.openxmlformats.org/officeDocument/2006/relationships/image" Target="../media/image5.png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9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8.png"/><Relationship Id="rId10" Type="http://schemas.openxmlformats.org/officeDocument/2006/relationships/oleObject" Target="../embeddings/oleObject1.bin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2.xml"/><Relationship Id="rId14" Type="http://schemas.openxmlformats.org/officeDocument/2006/relationships/image" Target="../media/image7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1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image" Target="../media/image21.w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image" Target="../media/image21.w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theme" Target="../theme/theme13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image" Target="../media/image21.w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image" Target="../media/image33.png"/><Relationship Id="rId5" Type="http://schemas.openxmlformats.org/officeDocument/2006/relationships/slideLayout" Target="../slideLayouts/slideLayout129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16.xml.rels><?xml version="1.0" encoding="UTF-8" standalone="yes"?>
<Relationships xmlns="http://schemas.openxmlformats.org/package/2006/relationships"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134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7.xml"/><Relationship Id="rId7" Type="http://schemas.openxmlformats.org/officeDocument/2006/relationships/image" Target="../media/image40.jpeg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theme" Target="../theme/theme17.xml"/><Relationship Id="rId5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8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2.xml"/><Relationship Id="rId7" Type="http://schemas.openxmlformats.org/officeDocument/2006/relationships/image" Target="../media/image40.jpeg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43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147.xml"/><Relationship Id="rId7" Type="http://schemas.openxmlformats.org/officeDocument/2006/relationships/theme" Target="../theme/theme19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3.xml"/><Relationship Id="rId7" Type="http://schemas.openxmlformats.org/officeDocument/2006/relationships/image" Target="../media/image40.jpeg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theme" Target="../theme/theme20.xml"/><Relationship Id="rId5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54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image" Target="../media/image40.jpeg"/><Relationship Id="rId5" Type="http://schemas.openxmlformats.org/officeDocument/2006/relationships/theme" Target="../theme/theme21.xml"/><Relationship Id="rId4" Type="http://schemas.openxmlformats.org/officeDocument/2006/relationships/slideLayout" Target="../slideLayouts/slideLayout15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nference-board.org/" TargetMode="Externa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hyperlink" Target="http://www.conference-board.org/" TargetMode="Externa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.png"/><Relationship Id="rId5" Type="http://schemas.openxmlformats.org/officeDocument/2006/relationships/hyperlink" Target="http://www.conference-board.org/" TargetMode="Externa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hyperlink" Target="http://www.conference-board.org/" TargetMode="Externa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1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png"/><Relationship Id="rId5" Type="http://schemas.openxmlformats.org/officeDocument/2006/relationships/hyperlink" Target="http://www.conference-board.org/" TargetMode="Externa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.png"/><Relationship Id="rId5" Type="http://schemas.openxmlformats.org/officeDocument/2006/relationships/hyperlink" Target="http://www.conference-board.org/" TargetMode="Externa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onference-board.org/" TargetMode="Externa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AC3BFB1-CE24-46A2-A08B-A04D818405DA}"/>
              </a:ext>
            </a:extLst>
          </p:cNvPr>
          <p:cNvSpPr/>
          <p:nvPr/>
        </p:nvSpPr>
        <p:spPr bwMode="auto">
          <a:xfrm>
            <a:off x="0" y="6415088"/>
            <a:ext cx="9144000" cy="442912"/>
          </a:xfrm>
          <a:prstGeom prst="rect">
            <a:avLst/>
          </a:prstGeom>
          <a:gradFill flip="none" rotWithShape="1">
            <a:gsLst>
              <a:gs pos="0">
                <a:srgbClr val="3BB4FF"/>
              </a:gs>
              <a:gs pos="50000">
                <a:srgbClr val="0086D0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27" name="Title Placeholder 6">
            <a:extLst>
              <a:ext uri="{FF2B5EF4-FFF2-40B4-BE49-F238E27FC236}">
                <a16:creationId xmlns:a16="http://schemas.microsoft.com/office/drawing/2014/main" xmlns="" id="{07DF897D-8C41-46AD-B058-06907DFF617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3" name="Footer Placeholder 4">
            <a:hlinkClick r:id="rId5"/>
            <a:extLst>
              <a:ext uri="{FF2B5EF4-FFF2-40B4-BE49-F238E27FC236}">
                <a16:creationId xmlns:a16="http://schemas.microsoft.com/office/drawing/2014/main" xmlns="" id="{15641BDE-3E07-4E83-A45D-5978FDC840CB}"/>
              </a:ext>
            </a:extLst>
          </p:cNvPr>
          <p:cNvSpPr txBox="1">
            <a:spLocks/>
          </p:cNvSpPr>
          <p:nvPr/>
        </p:nvSpPr>
        <p:spPr bwMode="auto">
          <a:xfrm>
            <a:off x="2719388" y="6461125"/>
            <a:ext cx="1490662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chemeClr val="bg1"/>
                </a:solidFill>
              </a:rPr>
              <a:t>www.conferenceboard.org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xmlns="" id="{B7FD7B61-C549-4D14-AA5B-94E2F643FA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313" y="6481763"/>
            <a:ext cx="2306637" cy="32385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chemeClr val="bg1"/>
                </a:solidFill>
              </a:rPr>
              <a:t>© 2017 The Conference Board, Inc.   |</a:t>
            </a:r>
          </a:p>
        </p:txBody>
      </p:sp>
      <p:sp>
        <p:nvSpPr>
          <p:cNvPr id="2055" name="Slide Number Placeholder 24">
            <a:extLst>
              <a:ext uri="{FF2B5EF4-FFF2-40B4-BE49-F238E27FC236}">
                <a16:creationId xmlns:a16="http://schemas.microsoft.com/office/drawing/2014/main" xmlns="" id="{07382001-B2FC-41C0-BBF9-351C5F9A4D06}"/>
              </a:ext>
            </a:extLst>
          </p:cNvPr>
          <p:cNvSpPr txBox="1">
            <a:spLocks/>
          </p:cNvSpPr>
          <p:nvPr/>
        </p:nvSpPr>
        <p:spPr bwMode="auto">
          <a:xfrm>
            <a:off x="273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3B3EFB7A-6307-4F60-8EA6-B5455982EBEF}" type="slidenum">
              <a:rPr lang="en-US" altLang="en-US" sz="900" smtClean="0">
                <a:solidFill>
                  <a:schemeClr val="bg1"/>
                </a:solidFill>
              </a:rPr>
              <a:pPr eaLnBrk="1" hangingPunct="1">
                <a:defRPr/>
              </a:pPr>
              <a:t>‹#›</a:t>
            </a:fld>
            <a:endParaRPr lang="en-US" altLang="en-US" sz="900">
              <a:solidFill>
                <a:schemeClr val="bg1"/>
              </a:solidFill>
            </a:endParaRPr>
          </a:p>
        </p:txBody>
      </p:sp>
      <p:sp>
        <p:nvSpPr>
          <p:cNvPr id="1031" name="Text Placeholder 7">
            <a:extLst>
              <a:ext uri="{FF2B5EF4-FFF2-40B4-BE49-F238E27FC236}">
                <a16:creationId xmlns:a16="http://schemas.microsoft.com/office/drawing/2014/main" xmlns="" id="{C99978AD-4F2D-4B05-8CDA-0406CB8426D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1032" name="Picture 11">
            <a:extLst>
              <a:ext uri="{FF2B5EF4-FFF2-40B4-BE49-F238E27FC236}">
                <a16:creationId xmlns:a16="http://schemas.microsoft.com/office/drawing/2014/main" xmlns="" id="{34D50E93-EE81-464F-8759-4FDD78BFA244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84" b="4587"/>
          <a:stretch>
            <a:fillRect/>
          </a:stretch>
        </p:blipFill>
        <p:spPr bwMode="auto">
          <a:xfrm>
            <a:off x="8482013" y="6415088"/>
            <a:ext cx="496887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6937" r:id="rId1"/>
    <p:sldLayoutId id="2147496873" r:id="rId2"/>
    <p:sldLayoutId id="2147496874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9113" indent="-28575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2" hidden="1">
            <a:extLst>
              <a:ext uri="{FF2B5EF4-FFF2-40B4-BE49-F238E27FC236}">
                <a16:creationId xmlns:a16="http://schemas.microsoft.com/office/drawing/2014/main" xmlns="" id="{9D841571-3B5D-4FE8-9BAD-CD840F757821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67" name="Rectangle 17">
            <a:extLst>
              <a:ext uri="{FF2B5EF4-FFF2-40B4-BE49-F238E27FC236}">
                <a16:creationId xmlns:a16="http://schemas.microsoft.com/office/drawing/2014/main" xmlns="" id="{97CEC35A-E68A-4988-9A5F-E75304D6B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1104900"/>
          </a:xfrm>
          <a:prstGeom prst="rect">
            <a:avLst/>
          </a:prstGeom>
          <a:gradFill rotWithShape="1">
            <a:gsLst>
              <a:gs pos="0">
                <a:srgbClr val="00549F"/>
              </a:gs>
              <a:gs pos="100000">
                <a:srgbClr val="0C2D83"/>
              </a:gs>
            </a:gsLst>
            <a:lin ang="0" scaled="1"/>
          </a:gradFill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>
              <a:solidFill>
                <a:srgbClr val="1E1E1E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10244" name="Rectangle 3">
            <a:extLst>
              <a:ext uri="{FF2B5EF4-FFF2-40B4-BE49-F238E27FC236}">
                <a16:creationId xmlns:a16="http://schemas.microsoft.com/office/drawing/2014/main" xmlns="" id="{EA1CC939-17A3-4EDC-94AC-4BFBCEE6A0D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black">
          <a:xfrm>
            <a:off x="206375" y="268288"/>
            <a:ext cx="8099425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45" name="Rectangle 4">
            <a:extLst>
              <a:ext uri="{FF2B5EF4-FFF2-40B4-BE49-F238E27FC236}">
                <a16:creationId xmlns:a16="http://schemas.microsoft.com/office/drawing/2014/main" xmlns="" id="{CACD0589-3657-4874-9F8D-D3DB5E4C481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17500" y="1390650"/>
            <a:ext cx="8134350" cy="434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6" name="Text Box 21">
            <a:extLst>
              <a:ext uri="{FF2B5EF4-FFF2-40B4-BE49-F238E27FC236}">
                <a16:creationId xmlns:a16="http://schemas.microsoft.com/office/drawing/2014/main" xmlns="" id="{CB54099A-A31E-4A94-B764-890860B54A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418513" y="6546850"/>
            <a:ext cx="3619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>
            <a:defPPr>
              <a:defRPr lang="en-US"/>
            </a:defPPr>
            <a:lvl1pPr lvl="0" fontAlgn="base">
              <a:spcBef>
                <a:spcPct val="50000"/>
              </a:spcBef>
              <a:spcAft>
                <a:spcPct val="0"/>
              </a:spcAft>
              <a:defRPr sz="1050">
                <a:solidFill>
                  <a:srgbClr val="1E1E1E"/>
                </a:solidFill>
                <a:latin typeface="Calibri" pitchFamily="34" charset="0"/>
                <a:ea typeface="ＭＳ Ｐゴシック" pitchFamily="-80" charset="-128"/>
              </a:defRPr>
            </a:lvl1pPr>
            <a:lvl2pPr marL="37931725" indent="-37474525" eaLnBrk="0" hangingPunct="0">
              <a:defRPr sz="2400">
                <a:latin typeface="Arial" charset="0"/>
                <a:ea typeface="ＭＳ Ｐゴシック" pitchFamily="-80" charset="-128"/>
              </a:defRPr>
            </a:lvl2pPr>
            <a:lvl3pPr eaLnBrk="0" hangingPunct="0">
              <a:defRPr sz="2400">
                <a:latin typeface="Arial" charset="0"/>
                <a:ea typeface="ＭＳ Ｐゴシック" pitchFamily="-80" charset="-128"/>
              </a:defRPr>
            </a:lvl3pPr>
            <a:lvl4pPr eaLnBrk="0" hangingPunct="0">
              <a:defRPr sz="2400">
                <a:latin typeface="Arial" charset="0"/>
                <a:ea typeface="ＭＳ Ｐゴシック" pitchFamily="-80" charset="-128"/>
              </a:defRPr>
            </a:lvl4pPr>
            <a:lvl5pPr eaLnBrk="0" hangingPunct="0">
              <a:defRPr sz="2400">
                <a:latin typeface="Arial" charset="0"/>
                <a:ea typeface="ＭＳ Ｐゴシック" pitchFamily="-80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pitchFamily="-80" charset="-128"/>
              </a:defRPr>
            </a:lvl9pPr>
          </a:lstStyle>
          <a:p>
            <a:pPr>
              <a:defRPr/>
            </a:pPr>
            <a:fld id="{C2F70D3F-AF76-4E83-A813-620285D991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247" name="Picture 50">
            <a:extLst>
              <a:ext uri="{FF2B5EF4-FFF2-40B4-BE49-F238E27FC236}">
                <a16:creationId xmlns:a16="http://schemas.microsoft.com/office/drawing/2014/main" xmlns="" id="{5D0D9F92-928A-4C2C-B15E-167869B405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932"/>
          <a:stretch>
            <a:fillRect/>
          </a:stretch>
        </p:blipFill>
        <p:spPr bwMode="auto">
          <a:xfrm>
            <a:off x="530225" y="6388100"/>
            <a:ext cx="1233488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248" name="Group 34">
            <a:extLst>
              <a:ext uri="{FF2B5EF4-FFF2-40B4-BE49-F238E27FC236}">
                <a16:creationId xmlns:a16="http://schemas.microsoft.com/office/drawing/2014/main" xmlns="" id="{A344B63F-AB87-46E2-828F-B058C7E675F1}"/>
              </a:ext>
            </a:extLst>
          </p:cNvPr>
          <p:cNvGrpSpPr>
            <a:grpSpLocks/>
          </p:cNvGrpSpPr>
          <p:nvPr/>
        </p:nvGrpSpPr>
        <p:grpSpPr bwMode="auto">
          <a:xfrm>
            <a:off x="8199438" y="100013"/>
            <a:ext cx="944562" cy="1004887"/>
            <a:chOff x="5836913" y="2692400"/>
            <a:chExt cx="3307088" cy="3613154"/>
          </a:xfrm>
        </p:grpSpPr>
        <p:pic>
          <p:nvPicPr>
            <p:cNvPr id="10255" name="Picture 6" descr="Environmental-water-drop1">
              <a:extLst>
                <a:ext uri="{FF2B5EF4-FFF2-40B4-BE49-F238E27FC236}">
                  <a16:creationId xmlns:a16="http://schemas.microsoft.com/office/drawing/2014/main" xmlns="" id="{E4EE747A-461A-41C3-84B6-A5DA9421146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525" b="52040"/>
            <a:stretch>
              <a:fillRect/>
            </a:stretch>
          </p:blipFill>
          <p:spPr bwMode="auto">
            <a:xfrm>
              <a:off x="8200115" y="4156287"/>
              <a:ext cx="943883" cy="925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6" name="Picture 36" descr="talent_heart">
              <a:extLst>
                <a:ext uri="{FF2B5EF4-FFF2-40B4-BE49-F238E27FC236}">
                  <a16:creationId xmlns:a16="http://schemas.microsoft.com/office/drawing/2014/main" xmlns="" id="{F66FFF9F-FFE9-4817-9815-5071510BD6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136" b="36043"/>
            <a:stretch>
              <a:fillRect/>
            </a:stretch>
          </p:blipFill>
          <p:spPr bwMode="auto">
            <a:xfrm>
              <a:off x="5836913" y="2692400"/>
              <a:ext cx="3307088" cy="361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7" name="Picture 37" descr="human1">
              <a:extLst>
                <a:ext uri="{FF2B5EF4-FFF2-40B4-BE49-F238E27FC236}">
                  <a16:creationId xmlns:a16="http://schemas.microsoft.com/office/drawing/2014/main" xmlns="" id="{648EE8C6-7B54-4458-A62C-FB183E27B3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945" b="41591"/>
            <a:stretch>
              <a:fillRect/>
            </a:stretch>
          </p:blipFill>
          <p:spPr bwMode="auto">
            <a:xfrm>
              <a:off x="8046914" y="5212080"/>
              <a:ext cx="1097085" cy="10934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8" name="Picture 6" descr="purple_up_arrow1">
              <a:extLst>
                <a:ext uri="{FF2B5EF4-FFF2-40B4-BE49-F238E27FC236}">
                  <a16:creationId xmlns:a16="http://schemas.microsoft.com/office/drawing/2014/main" xmlns="" id="{6345B68D-C8FA-4341-BAC9-AC7E12B396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5847" b="54196"/>
            <a:stretch>
              <a:fillRect/>
            </a:stretch>
          </p:blipFill>
          <p:spPr bwMode="auto">
            <a:xfrm>
              <a:off x="7427666" y="4431946"/>
              <a:ext cx="1716333" cy="1872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9" name="Picture 39">
              <a:extLst>
                <a:ext uri="{FF2B5EF4-FFF2-40B4-BE49-F238E27FC236}">
                  <a16:creationId xmlns:a16="http://schemas.microsoft.com/office/drawing/2014/main" xmlns="" id="{5817D9DF-CFC8-418C-872D-02C60052DB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5247" y="4423853"/>
              <a:ext cx="311495" cy="3112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60" name="Picture 3">
              <a:extLst>
                <a:ext uri="{FF2B5EF4-FFF2-40B4-BE49-F238E27FC236}">
                  <a16:creationId xmlns:a16="http://schemas.microsoft.com/office/drawing/2014/main" xmlns="" id="{277F8FD2-85C8-4257-8170-7746F0BCC9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19422" y="3863219"/>
              <a:ext cx="375178" cy="392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61" name="Picture 1">
              <a:extLst>
                <a:ext uri="{FF2B5EF4-FFF2-40B4-BE49-F238E27FC236}">
                  <a16:creationId xmlns:a16="http://schemas.microsoft.com/office/drawing/2014/main" xmlns="" id="{8C0EB21E-E30C-473A-BE3D-F3A8D1782F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2998" y="4409561"/>
              <a:ext cx="390851" cy="395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249" name="Group 17">
            <a:extLst>
              <a:ext uri="{FF2B5EF4-FFF2-40B4-BE49-F238E27FC236}">
                <a16:creationId xmlns:a16="http://schemas.microsoft.com/office/drawing/2014/main" xmlns="" id="{8E533DF6-F1A3-4241-A367-4DFD377F5020}"/>
              </a:ext>
            </a:extLst>
          </p:cNvPr>
          <p:cNvGrpSpPr>
            <a:grpSpLocks/>
          </p:cNvGrpSpPr>
          <p:nvPr/>
        </p:nvGrpSpPr>
        <p:grpSpPr bwMode="auto">
          <a:xfrm>
            <a:off x="8199438" y="96838"/>
            <a:ext cx="944562" cy="1008062"/>
            <a:chOff x="5836913" y="2692400"/>
            <a:chExt cx="3307088" cy="3615428"/>
          </a:xfrm>
        </p:grpSpPr>
        <p:pic>
          <p:nvPicPr>
            <p:cNvPr id="10251" name="Picture 6" descr="Environmental-water-drop1">
              <a:extLst>
                <a:ext uri="{FF2B5EF4-FFF2-40B4-BE49-F238E27FC236}">
                  <a16:creationId xmlns:a16="http://schemas.microsoft.com/office/drawing/2014/main" xmlns="" id="{83969FC1-E1E9-4C7F-89F0-DC7ACC19F1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8525" b="52040"/>
            <a:stretch>
              <a:fillRect/>
            </a:stretch>
          </p:blipFill>
          <p:spPr bwMode="auto">
            <a:xfrm>
              <a:off x="8200115" y="4156287"/>
              <a:ext cx="943883" cy="9259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2" name="Picture 19" descr="talent_heart">
              <a:extLst>
                <a:ext uri="{FF2B5EF4-FFF2-40B4-BE49-F238E27FC236}">
                  <a16:creationId xmlns:a16="http://schemas.microsoft.com/office/drawing/2014/main" xmlns="" id="{A586C200-86D1-495A-98C0-3A2CFF4964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136" b="36043"/>
            <a:stretch>
              <a:fillRect/>
            </a:stretch>
          </p:blipFill>
          <p:spPr bwMode="auto">
            <a:xfrm>
              <a:off x="5836913" y="2692400"/>
              <a:ext cx="3307088" cy="3612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3" name="Picture 20" descr="human1">
              <a:extLst>
                <a:ext uri="{FF2B5EF4-FFF2-40B4-BE49-F238E27FC236}">
                  <a16:creationId xmlns:a16="http://schemas.microsoft.com/office/drawing/2014/main" xmlns="" id="{CAA3ACD3-1CB8-4D52-B5AE-55B15FCF4B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6945" b="41591"/>
            <a:stretch>
              <a:fillRect/>
            </a:stretch>
          </p:blipFill>
          <p:spPr bwMode="auto">
            <a:xfrm>
              <a:off x="8046914" y="5212080"/>
              <a:ext cx="1097085" cy="10875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54" name="Picture 6" descr="purple_up_arrow1">
              <a:extLst>
                <a:ext uri="{FF2B5EF4-FFF2-40B4-BE49-F238E27FC236}">
                  <a16:creationId xmlns:a16="http://schemas.microsoft.com/office/drawing/2014/main" xmlns="" id="{E11D7E0B-938A-4C15-81F5-87077DBE05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5847" b="54196"/>
            <a:stretch>
              <a:fillRect/>
            </a:stretch>
          </p:blipFill>
          <p:spPr bwMode="auto">
            <a:xfrm>
              <a:off x="7427666" y="4431945"/>
              <a:ext cx="1716333" cy="1875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274" name="TextBox 22">
            <a:extLst>
              <a:ext uri="{FF2B5EF4-FFF2-40B4-BE49-F238E27FC236}">
                <a16:creationId xmlns:a16="http://schemas.microsoft.com/office/drawing/2014/main" xmlns="" id="{C60F732C-5FBC-4B79-97F1-7971956BC9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81588" y="6494463"/>
            <a:ext cx="3298825" cy="24765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>
                <a:latin typeface="Calibri" panose="020F0502020204030204" pitchFamily="34" charset="0"/>
              </a:rPr>
              <a:t>                 Conference Board  | Strategic HR Conferenc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944" r:id="rId1"/>
    <p:sldLayoutId id="2147496889" r:id="rId2"/>
    <p:sldLayoutId id="2147496890" r:id="rId3"/>
    <p:sldLayoutId id="2147496891" r:id="rId4"/>
    <p:sldLayoutId id="2147496892" r:id="rId5"/>
    <p:sldLayoutId id="2147496945" r:id="rId6"/>
  </p:sldLayoutIdLst>
  <p:transition spd="slow">
    <p:wipe dir="r"/>
  </p:transition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+mj-lt"/>
          <a:ea typeface="MS PGothic" panose="020B0600070205080204" pitchFamily="34" charset="-128"/>
          <a:cs typeface="ＭＳ Ｐゴシック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pitchFamily="-80" charset="0"/>
          <a:ea typeface="MS PGothic" panose="020B0600070205080204" pitchFamily="34" charset="-128"/>
          <a:cs typeface="ＭＳ Ｐゴシック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pitchFamily="-80" charset="0"/>
          <a:ea typeface="MS PGothic" panose="020B0600070205080204" pitchFamily="34" charset="-128"/>
          <a:cs typeface="ＭＳ Ｐゴシック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pitchFamily="-80" charset="0"/>
          <a:ea typeface="MS PGothic" panose="020B0600070205080204" pitchFamily="34" charset="-128"/>
          <a:cs typeface="ＭＳ Ｐゴシック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Arial" pitchFamily="-80" charset="0"/>
          <a:ea typeface="MS PGothic" panose="020B0600070205080204" pitchFamily="34" charset="-128"/>
          <a:cs typeface="ＭＳ Ｐゴシック"/>
        </a:defRPr>
      </a:lvl5pPr>
      <a:lvl6pPr marL="4572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-80" charset="0"/>
        </a:defRPr>
      </a:lvl6pPr>
      <a:lvl7pPr marL="9144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-80" charset="0"/>
        </a:defRPr>
      </a:lvl7pPr>
      <a:lvl8pPr marL="13716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-80" charset="0"/>
        </a:defRPr>
      </a:lvl8pPr>
      <a:lvl9pPr marL="18288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-80" charset="0"/>
        </a:defRPr>
      </a:lvl9pPr>
    </p:titleStyle>
    <p:bodyStyle>
      <a:lvl1pPr marL="231775" indent="-231775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Clr>
          <a:schemeClr val="hlink"/>
        </a:buClr>
        <a:buChar char="•"/>
        <a:defRPr sz="28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ＭＳ Ｐゴシック"/>
        </a:defRPr>
      </a:lvl1pPr>
      <a:lvl2pPr marL="573088" indent="-284163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Clr>
          <a:schemeClr val="hlink"/>
        </a:buClr>
        <a:buChar char="–"/>
        <a:defRPr sz="24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ＭＳ Ｐゴシック"/>
        </a:defRPr>
      </a:lvl2pPr>
      <a:lvl3pPr marL="804863" indent="-228600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Clr>
          <a:schemeClr val="hlink"/>
        </a:buClr>
        <a:buChar char="•"/>
        <a:defRPr sz="2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ＭＳ Ｐゴシック"/>
        </a:defRPr>
      </a:lvl3pPr>
      <a:lvl4pPr marL="969963" indent="-166688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Clr>
          <a:schemeClr val="hlink"/>
        </a:buClr>
        <a:buChar char="–"/>
        <a:defRPr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ＭＳ Ｐゴシック"/>
        </a:defRPr>
      </a:lvl4pPr>
      <a:lvl5pPr marL="1200150" indent="-171450" algn="l" rtl="0" eaLnBrk="0" fontAlgn="base" hangingPunct="0">
        <a:lnSpc>
          <a:spcPct val="80000"/>
        </a:lnSpc>
        <a:spcBef>
          <a:spcPts val="1200"/>
        </a:spcBef>
        <a:spcAft>
          <a:spcPct val="0"/>
        </a:spcAft>
        <a:buClr>
          <a:schemeClr val="hlink"/>
        </a:buClr>
        <a:buChar char="•"/>
        <a:defRPr sz="16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ＭＳ Ｐゴシック"/>
        </a:defRPr>
      </a:lvl5pPr>
      <a:lvl6pPr marL="1597025" indent="-111125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200">
          <a:solidFill>
            <a:schemeClr val="tx1"/>
          </a:solidFill>
          <a:latin typeface="+mn-lt"/>
          <a:ea typeface="ＭＳ Ｐゴシック" pitchFamily="-80" charset="-128"/>
        </a:defRPr>
      </a:lvl6pPr>
      <a:lvl7pPr marL="2054225" indent="-111125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200">
          <a:solidFill>
            <a:schemeClr val="tx1"/>
          </a:solidFill>
          <a:latin typeface="+mn-lt"/>
          <a:ea typeface="ＭＳ Ｐゴシック" pitchFamily="-80" charset="-128"/>
        </a:defRPr>
      </a:lvl7pPr>
      <a:lvl8pPr marL="2511425" indent="-111125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200">
          <a:solidFill>
            <a:schemeClr val="tx1"/>
          </a:solidFill>
          <a:latin typeface="+mn-lt"/>
          <a:ea typeface="ＭＳ Ｐゴシック" pitchFamily="-80" charset="-128"/>
        </a:defRPr>
      </a:lvl8pPr>
      <a:lvl9pPr marL="2968625" indent="-111125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Char char="•"/>
        <a:defRPr sz="1200">
          <a:solidFill>
            <a:schemeClr val="tx1"/>
          </a:solidFill>
          <a:latin typeface="+mn-lt"/>
          <a:ea typeface="ＭＳ Ｐゴシック" pitchFamily="-80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Placeholder 1">
            <a:extLst>
              <a:ext uri="{FF2B5EF4-FFF2-40B4-BE49-F238E27FC236}">
                <a16:creationId xmlns:a16="http://schemas.microsoft.com/office/drawing/2014/main" xmlns="" id="{8308AAF5-29EF-4FB8-8020-A070B125473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79413" y="552450"/>
            <a:ext cx="8351837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Click to edit Master title style</a:t>
            </a:r>
            <a:endParaRPr lang="en-US" altLang="en-US"/>
          </a:p>
        </p:txBody>
      </p:sp>
      <p:sp>
        <p:nvSpPr>
          <p:cNvPr id="11267" name="Text Placeholder 2">
            <a:extLst>
              <a:ext uri="{FF2B5EF4-FFF2-40B4-BE49-F238E27FC236}">
                <a16:creationId xmlns:a16="http://schemas.microsoft.com/office/drawing/2014/main" xmlns="" id="{AF7EF4C9-D3B4-4364-AE0E-96941148963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630363"/>
            <a:ext cx="8350250" cy="443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pic>
        <p:nvPicPr>
          <p:cNvPr id="11268" name="Picture 11">
            <a:extLst>
              <a:ext uri="{FF2B5EF4-FFF2-40B4-BE49-F238E27FC236}">
                <a16:creationId xmlns:a16="http://schemas.microsoft.com/office/drawing/2014/main" xmlns="" id="{C83D3D5D-F586-46AF-A431-0505F0EFFE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0" t="3741" r="3511" b="3000"/>
          <a:stretch>
            <a:fillRect/>
          </a:stretch>
        </p:blipFill>
        <p:spPr bwMode="auto">
          <a:xfrm>
            <a:off x="396875" y="6207125"/>
            <a:ext cx="490538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3" name="Text Box 18">
            <a:extLst>
              <a:ext uri="{FF2B5EF4-FFF2-40B4-BE49-F238E27FC236}">
                <a16:creationId xmlns:a16="http://schemas.microsoft.com/office/drawing/2014/main" xmlns="" id="{11BD1ECB-69EA-4F33-9B96-160385C76B8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42075" y="6229350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80E09FBC-0FC0-4813-90EB-9AF150E210C9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Facilitating Effective Meetings at GE - FEM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5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946" r:id="rId1"/>
    <p:sldLayoutId id="2147496893" r:id="rId2"/>
    <p:sldLayoutId id="2147496894" r:id="rId3"/>
    <p:sldLayoutId id="2147496895" r:id="rId4"/>
    <p:sldLayoutId id="2147496896" r:id="rId5"/>
    <p:sldLayoutId id="2147496897" r:id="rId6"/>
    <p:sldLayoutId id="2147496898" r:id="rId7"/>
    <p:sldLayoutId id="2147496947" r:id="rId8"/>
    <p:sldLayoutId id="2147496948" r:id="rId9"/>
    <p:sldLayoutId id="2147496949" r:id="rId10"/>
    <p:sldLayoutId id="2147496950" r:id="rId11"/>
    <p:sldLayoutId id="2147496951" r:id="rId12"/>
    <p:sldLayoutId id="2147496952" r:id="rId13"/>
    <p:sldLayoutId id="2147496899" r:id="rId14"/>
    <p:sldLayoutId id="2147496953" r:id="rId15"/>
    <p:sldLayoutId id="2147496954" r:id="rId16"/>
    <p:sldLayoutId id="2147496955" r:id="rId17"/>
    <p:sldLayoutId id="2147496900" r:id="rId18"/>
    <p:sldLayoutId id="2147496956" r:id="rId19"/>
    <p:sldLayoutId id="2147496957" r:id="rId20"/>
    <p:sldLayoutId id="2147496958" r:id="rId21"/>
    <p:sldLayoutId id="2147496959" r:id="rId22"/>
    <p:sldLayoutId id="2147496960" r:id="rId23"/>
    <p:sldLayoutId id="2147496961" r:id="rId24"/>
    <p:sldLayoutId id="2147496962" r:id="rId25"/>
    <p:sldLayoutId id="2147496963" r:id="rId26"/>
    <p:sldLayoutId id="2147496964" r:id="rId27"/>
    <p:sldLayoutId id="2147496965" r:id="rId28"/>
  </p:sldLayoutIdLst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9pPr>
    </p:titleStyle>
    <p:bodyStyle>
      <a:lvl1pPr algn="l" rtl="0" eaLnBrk="0" fontAlgn="base" hangingPunct="0">
        <a:spcBef>
          <a:spcPts val="1200"/>
        </a:spcBef>
        <a:spcAft>
          <a:spcPct val="0"/>
        </a:spcAft>
        <a:buFont typeface="Arial" panose="020B0604020202020204" pitchFamily="34" charset="0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03200" indent="-182563" algn="l" rtl="0" eaLnBrk="0" fontAlgn="base" hangingPunct="0"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95263" algn="l" rtl="0" eaLnBrk="0" fontAlgn="base" hangingPunct="0">
        <a:spcBef>
          <a:spcPts val="800"/>
        </a:spcBef>
        <a:spcAft>
          <a:spcPct val="0"/>
        </a:spcAft>
        <a:buFont typeface="GE Inspira Pitch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555625" indent="-166688" algn="l" rtl="0" eaLnBrk="0" fontAlgn="base" hangingPunct="0">
        <a:spcBef>
          <a:spcPts val="6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Placeholder 1">
            <a:extLst>
              <a:ext uri="{FF2B5EF4-FFF2-40B4-BE49-F238E27FC236}">
                <a16:creationId xmlns:a16="http://schemas.microsoft.com/office/drawing/2014/main" xmlns="" id="{BE79AB8B-53C8-4730-95EA-8CD6230A494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79413" y="552450"/>
            <a:ext cx="8351837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Click to edit Master title style</a:t>
            </a:r>
            <a:endParaRPr lang="en-US" altLang="en-US"/>
          </a:p>
        </p:txBody>
      </p:sp>
      <p:sp>
        <p:nvSpPr>
          <p:cNvPr id="12291" name="Text Placeholder 2">
            <a:extLst>
              <a:ext uri="{FF2B5EF4-FFF2-40B4-BE49-F238E27FC236}">
                <a16:creationId xmlns:a16="http://schemas.microsoft.com/office/drawing/2014/main" xmlns="" id="{CA7E092D-9592-4C5D-BF09-D7FE53067BB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630363"/>
            <a:ext cx="8350250" cy="443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pic>
        <p:nvPicPr>
          <p:cNvPr id="12292" name="Picture 11">
            <a:extLst>
              <a:ext uri="{FF2B5EF4-FFF2-40B4-BE49-F238E27FC236}">
                <a16:creationId xmlns:a16="http://schemas.microsoft.com/office/drawing/2014/main" xmlns="" id="{5D674762-BFE2-4F7D-9FED-1ED3DAEC4C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0" t="3741" r="3511" b="3000"/>
          <a:stretch>
            <a:fillRect/>
          </a:stretch>
        </p:blipFill>
        <p:spPr bwMode="auto">
          <a:xfrm>
            <a:off x="396875" y="6207125"/>
            <a:ext cx="490538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6966" r:id="rId1"/>
    <p:sldLayoutId id="2147496967" r:id="rId2"/>
    <p:sldLayoutId id="2147496901" r:id="rId3"/>
    <p:sldLayoutId id="2147496902" r:id="rId4"/>
    <p:sldLayoutId id="2147496968" r:id="rId5"/>
    <p:sldLayoutId id="2147496969" r:id="rId6"/>
    <p:sldLayoutId id="2147496970" r:id="rId7"/>
    <p:sldLayoutId id="2147496903" r:id="rId8"/>
    <p:sldLayoutId id="2147496904" r:id="rId9"/>
    <p:sldLayoutId id="2147496905" r:id="rId10"/>
    <p:sldLayoutId id="2147496906" r:id="rId11"/>
    <p:sldLayoutId id="2147496907" r:id="rId12"/>
    <p:sldLayoutId id="2147496908" r:id="rId13"/>
    <p:sldLayoutId id="2147496971" r:id="rId14"/>
    <p:sldLayoutId id="2147496972" r:id="rId15"/>
    <p:sldLayoutId id="2147496973" r:id="rId16"/>
    <p:sldLayoutId id="2147496974" r:id="rId17"/>
    <p:sldLayoutId id="2147496909" r:id="rId18"/>
    <p:sldLayoutId id="2147496975" r:id="rId19"/>
    <p:sldLayoutId id="2147496976" r:id="rId20"/>
    <p:sldLayoutId id="2147496977" r:id="rId21"/>
    <p:sldLayoutId id="2147496978" r:id="rId22"/>
    <p:sldLayoutId id="2147496979" r:id="rId23"/>
    <p:sldLayoutId id="2147496980" r:id="rId24"/>
    <p:sldLayoutId id="2147496981" r:id="rId25"/>
    <p:sldLayoutId id="2147496982" r:id="rId26"/>
    <p:sldLayoutId id="2147496983" r:id="rId27"/>
    <p:sldLayoutId id="2147496984" r:id="rId28"/>
  </p:sldLayoutIdLst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9pPr>
    </p:titleStyle>
    <p:bodyStyle>
      <a:lvl1pPr algn="l" rtl="0" eaLnBrk="0" fontAlgn="base" hangingPunct="0">
        <a:spcBef>
          <a:spcPts val="1200"/>
        </a:spcBef>
        <a:spcAft>
          <a:spcPct val="0"/>
        </a:spcAft>
        <a:buFont typeface="Arial" panose="020B0604020202020204" pitchFamily="34" charset="0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03200" indent="-182563" algn="l" rtl="0" eaLnBrk="0" fontAlgn="base" hangingPunct="0"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95263" algn="l" rtl="0" eaLnBrk="0" fontAlgn="base" hangingPunct="0">
        <a:spcBef>
          <a:spcPts val="800"/>
        </a:spcBef>
        <a:spcAft>
          <a:spcPct val="0"/>
        </a:spcAft>
        <a:buFont typeface="GE Inspira Pitch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555625" indent="-166688" algn="l" rtl="0" eaLnBrk="0" fontAlgn="base" hangingPunct="0">
        <a:spcBef>
          <a:spcPts val="6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Placeholder 1">
            <a:extLst>
              <a:ext uri="{FF2B5EF4-FFF2-40B4-BE49-F238E27FC236}">
                <a16:creationId xmlns:a16="http://schemas.microsoft.com/office/drawing/2014/main" xmlns="" id="{69A61A5B-8C24-4416-8A28-7EDC9669BA1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79413" y="552450"/>
            <a:ext cx="8351837" cy="102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ko-KR"/>
              <a:t>Click to edit Master title style</a:t>
            </a:r>
            <a:endParaRPr lang="en-US" altLang="en-US"/>
          </a:p>
        </p:txBody>
      </p:sp>
      <p:sp>
        <p:nvSpPr>
          <p:cNvPr id="13315" name="Text Placeholder 2">
            <a:extLst>
              <a:ext uri="{FF2B5EF4-FFF2-40B4-BE49-F238E27FC236}">
                <a16:creationId xmlns:a16="http://schemas.microsoft.com/office/drawing/2014/main" xmlns="" id="{58F89E14-4932-4866-AF68-E96689BB718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81000" y="1630363"/>
            <a:ext cx="8350250" cy="443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</p:txBody>
      </p:sp>
      <p:pic>
        <p:nvPicPr>
          <p:cNvPr id="13316" name="Picture 11">
            <a:extLst>
              <a:ext uri="{FF2B5EF4-FFF2-40B4-BE49-F238E27FC236}">
                <a16:creationId xmlns:a16="http://schemas.microsoft.com/office/drawing/2014/main" xmlns="" id="{787BCBF2-3FF1-4428-A970-A77B6D6E18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60" t="3741" r="3511" b="3000"/>
          <a:stretch>
            <a:fillRect/>
          </a:stretch>
        </p:blipFill>
        <p:spPr bwMode="auto">
          <a:xfrm>
            <a:off x="396875" y="6207125"/>
            <a:ext cx="490538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1" name="Text Box 18">
            <a:extLst>
              <a:ext uri="{FF2B5EF4-FFF2-40B4-BE49-F238E27FC236}">
                <a16:creationId xmlns:a16="http://schemas.microsoft.com/office/drawing/2014/main" xmlns="" id="{F03FCA07-602F-4138-8FE8-BAAC222C8D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42075" y="6229350"/>
            <a:ext cx="2455863" cy="466725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  <a:defRPr/>
            </a:pPr>
            <a:fld id="{9C5EC37F-2C1F-490D-9CCA-E831E6544168}" type="slidenum">
              <a:rPr lang="en-US" altLang="en-US" sz="900" smtClean="0">
                <a:solidFill>
                  <a:srgbClr val="575757"/>
                </a:solidFill>
                <a:latin typeface="GE Inspira Pitch"/>
              </a:rPr>
              <a:pPr algn="r" eaLnBrk="1" hangingPunct="1">
                <a:lnSpc>
                  <a:spcPct val="90000"/>
                </a:lnSpc>
                <a:defRPr/>
              </a:pPr>
              <a:t>‹#›</a:t>
            </a:fld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 </a:t>
            </a:r>
          </a:p>
          <a:p>
            <a:pPr algn="r">
              <a:lnSpc>
                <a:spcPct val="90000"/>
              </a:lnSpc>
              <a:defRPr/>
            </a:pPr>
            <a:r>
              <a:rPr lang="en-US" altLang="ko-KR" sz="900">
                <a:solidFill>
                  <a:srgbClr val="575757"/>
                </a:solidFill>
                <a:latin typeface="GE Inspira Pitch"/>
                <a:ea typeface="굴림" panose="020B0600000101010101" pitchFamily="34" charset="-127"/>
              </a:rPr>
              <a:t>Course Name – Course Acronym </a:t>
            </a:r>
          </a:p>
          <a:p>
            <a:pPr algn="r" eaLnBrk="1" hangingPunct="1">
              <a:lnSpc>
                <a:spcPct val="90000"/>
              </a:lnSpc>
              <a:defRPr/>
            </a:pPr>
            <a:r>
              <a:rPr lang="en-US" altLang="en-US" sz="900">
                <a:solidFill>
                  <a:srgbClr val="575757"/>
                </a:solidFill>
                <a:latin typeface="GE Inspira Pitch"/>
              </a:rPr>
              <a:t>© General Electric 2014</a:t>
            </a:r>
            <a:endParaRPr lang="en-US" altLang="en-US">
              <a:solidFill>
                <a:srgbClr val="575757"/>
              </a:solidFill>
              <a:latin typeface="GE Inspira Pitch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985" r:id="rId1"/>
    <p:sldLayoutId id="2147496986" r:id="rId2"/>
    <p:sldLayoutId id="2147496910" r:id="rId3"/>
    <p:sldLayoutId id="2147496911" r:id="rId4"/>
    <p:sldLayoutId id="2147496987" r:id="rId5"/>
    <p:sldLayoutId id="2147496988" r:id="rId6"/>
    <p:sldLayoutId id="2147496989" r:id="rId7"/>
    <p:sldLayoutId id="2147496912" r:id="rId8"/>
    <p:sldLayoutId id="2147496913" r:id="rId9"/>
    <p:sldLayoutId id="2147496914" r:id="rId10"/>
    <p:sldLayoutId id="2147496915" r:id="rId11"/>
    <p:sldLayoutId id="2147496916" r:id="rId12"/>
    <p:sldLayoutId id="2147496917" r:id="rId13"/>
    <p:sldLayoutId id="2147496990" r:id="rId14"/>
    <p:sldLayoutId id="2147496991" r:id="rId15"/>
    <p:sldLayoutId id="2147496992" r:id="rId16"/>
    <p:sldLayoutId id="2147496993" r:id="rId17"/>
    <p:sldLayoutId id="2147496918" r:id="rId18"/>
    <p:sldLayoutId id="2147496994" r:id="rId19"/>
    <p:sldLayoutId id="2147496995" r:id="rId20"/>
    <p:sldLayoutId id="2147496996" r:id="rId21"/>
    <p:sldLayoutId id="2147496997" r:id="rId22"/>
    <p:sldLayoutId id="2147496998" r:id="rId23"/>
    <p:sldLayoutId id="2147496999" r:id="rId24"/>
    <p:sldLayoutId id="2147497000" r:id="rId25"/>
    <p:sldLayoutId id="2147497001" r:id="rId26"/>
    <p:sldLayoutId id="2147497002" r:id="rId27"/>
    <p:sldLayoutId id="2147497003" r:id="rId28"/>
  </p:sldLayoutIdLst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5pPr>
      <a:lvl6pPr marL="4572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6pPr>
      <a:lvl7pPr marL="9144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7pPr>
      <a:lvl8pPr marL="13716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8pPr>
      <a:lvl9pPr marL="182880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GE Inspira Pitch"/>
        </a:defRPr>
      </a:lvl9pPr>
    </p:titleStyle>
    <p:bodyStyle>
      <a:lvl1pPr algn="l" rtl="0" eaLnBrk="0" fontAlgn="base" hangingPunct="0">
        <a:spcBef>
          <a:spcPts val="1200"/>
        </a:spcBef>
        <a:spcAft>
          <a:spcPct val="0"/>
        </a:spcAft>
        <a:buFont typeface="Arial" panose="020B0604020202020204" pitchFamily="34" charset="0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203200" indent="-182563" algn="l" rtl="0" eaLnBrk="0" fontAlgn="base" hangingPunct="0"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95263" algn="l" rtl="0" eaLnBrk="0" fontAlgn="base" hangingPunct="0">
        <a:spcBef>
          <a:spcPts val="800"/>
        </a:spcBef>
        <a:spcAft>
          <a:spcPct val="0"/>
        </a:spcAft>
        <a:buFont typeface="GE Inspira Pitch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555625" indent="-166688" algn="l" rtl="0" eaLnBrk="0" fontAlgn="base" hangingPunct="0">
        <a:spcBef>
          <a:spcPts val="6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Placeholder 1">
            <a:extLst>
              <a:ext uri="{FF2B5EF4-FFF2-40B4-BE49-F238E27FC236}">
                <a16:creationId xmlns:a16="http://schemas.microsoft.com/office/drawing/2014/main" xmlns="" id="{841B0DE9-A2D7-4DD2-9EEA-496626155E9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4339" name="Text Placeholder 2">
            <a:extLst>
              <a:ext uri="{FF2B5EF4-FFF2-40B4-BE49-F238E27FC236}">
                <a16:creationId xmlns:a16="http://schemas.microsoft.com/office/drawing/2014/main" xmlns="" id="{16A96248-1746-4BB6-A23D-1C9C6F51B1D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5530DC0-19B0-4BE9-8BCB-E35DA5705E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BFD5338-7E56-43B2-BAB0-5213886EC238}" type="datetimeFigureOut">
              <a:rPr lang="en-US"/>
              <a:pPr>
                <a:defRPr/>
              </a:pPr>
              <a:t>10/2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72875E1-369D-4A5E-AA7B-A44DFE981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DDB1A47-E3E5-4F71-8796-C706863F0C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7488E32-9BC5-47A3-BA24-8F6A81D667F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7004" r:id="rId1"/>
    <p:sldLayoutId id="2147497005" r:id="rId2"/>
    <p:sldLayoutId id="2147497006" r:id="rId3"/>
    <p:sldLayoutId id="2147497007" r:id="rId4"/>
    <p:sldLayoutId id="2147497008" r:id="rId5"/>
    <p:sldLayoutId id="2147496919" r:id="rId6"/>
    <p:sldLayoutId id="2147496920" r:id="rId7"/>
    <p:sldLayoutId id="2147496921" r:id="rId8"/>
    <p:sldLayoutId id="2147496922" r:id="rId9"/>
    <p:sldLayoutId id="2147496923" r:id="rId10"/>
    <p:sldLayoutId id="2147497009" r:id="rId11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C30F592D-284F-4E68-8CE6-6F30D0F7F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30175"/>
            <a:ext cx="7586663" cy="936625"/>
          </a:xfrm>
          <a:prstGeom prst="rect">
            <a:avLst/>
          </a:prstGeom>
        </p:spPr>
        <p:txBody>
          <a:bodyPr vert="horz" lIns="91440" tIns="45720" rIns="91440" bIns="45720" numCol="1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04322B9-B173-4853-8C4A-59BE6795B1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458913"/>
            <a:ext cx="8229600" cy="4525962"/>
          </a:xfrm>
          <a:prstGeom prst="rect">
            <a:avLst/>
          </a:prstGeom>
        </p:spPr>
        <p:txBody>
          <a:bodyPr vert="horz" lIns="91440" tIns="45720" rIns="91440" bIns="45720" numCol="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xmlns="" id="{AE63A692-C3F0-45D1-97ED-210CDE2163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61375" y="6426200"/>
            <a:ext cx="447675" cy="365125"/>
          </a:xfrm>
          <a:prstGeom prst="rect">
            <a:avLst/>
          </a:prstGeom>
        </p:spPr>
        <p:txBody>
          <a:bodyPr numCol="1"/>
          <a:lstStyle>
            <a:lvl1pPr>
              <a:spcBef>
                <a:spcPts val="0"/>
              </a:spcBef>
              <a:buSzPct val="25000"/>
              <a:defRPr sz="8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>
              <a:defRPr/>
            </a:pPr>
            <a:fld id="{FA45928E-F7EB-4063-826A-A5E5C8C6411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84EC68DE-602B-4F3F-ADCD-9DED1660BF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433763" y="6426200"/>
            <a:ext cx="5011737" cy="365125"/>
          </a:xfrm>
          <a:prstGeom prst="rect">
            <a:avLst/>
          </a:prstGeom>
        </p:spPr>
        <p:txBody>
          <a:bodyPr numCol="1"/>
          <a:lstStyle>
            <a:lvl1pPr algn="r">
              <a:defRPr sz="800">
                <a:solidFill>
                  <a:schemeClr val="tx2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en-US"/>
              <a:t>© 2017 NeuroLeadership Institute   |</a:t>
            </a:r>
          </a:p>
        </p:txBody>
      </p:sp>
      <p:pic>
        <p:nvPicPr>
          <p:cNvPr id="15366" name="Picture 8">
            <a:extLst>
              <a:ext uri="{FF2B5EF4-FFF2-40B4-BE49-F238E27FC236}">
                <a16:creationId xmlns:a16="http://schemas.microsoft.com/office/drawing/2014/main" xmlns="" id="{12252F9B-92AB-431B-A4E3-43D2FE5C99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0" y="6329363"/>
            <a:ext cx="1846263" cy="334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59D4D08D-B3D8-4BC8-A932-47AA95BE78E5}"/>
              </a:ext>
            </a:extLst>
          </p:cNvPr>
          <p:cNvCxnSpPr/>
          <p:nvPr/>
        </p:nvCxnSpPr>
        <p:spPr>
          <a:xfrm>
            <a:off x="565150" y="1200150"/>
            <a:ext cx="8024813" cy="0"/>
          </a:xfrm>
          <a:prstGeom prst="line">
            <a:avLst/>
          </a:prstGeom>
          <a:ln w="12700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7010" r:id="rId1"/>
    <p:sldLayoutId id="2147497011" r:id="rId2"/>
    <p:sldLayoutId id="2147497012" r:id="rId3"/>
    <p:sldLayoutId id="2147496924" r:id="rId4"/>
    <p:sldLayoutId id="2147496925" r:id="rId5"/>
    <p:sldLayoutId id="2147497013" r:id="rId6"/>
    <p:sldLayoutId id="2147497014" r:id="rId7"/>
    <p:sldLayoutId id="2147497015" r:id="rId8"/>
    <p:sldLayoutId id="2147497016" r:id="rId9"/>
  </p:sldLayoutIdLst>
  <p:transition spd="slow"/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600" kern="1200" cap="all">
          <a:solidFill>
            <a:schemeClr val="accent2"/>
          </a:solidFill>
          <a:latin typeface="Calibri Light"/>
          <a:ea typeface="Calibri Light" panose="020F0302020204030204" pitchFamily="34" charset="0"/>
          <a:cs typeface="Calibri Light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accent2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accent2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accent2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accent2"/>
          </a:solidFill>
          <a:latin typeface="Calibri Light" panose="020F0302020204030204" pitchFamily="34" charset="0"/>
          <a:ea typeface="Calibri Light" panose="020F0302020204030204" pitchFamily="34" charset="0"/>
          <a:cs typeface="Calibri Light" panose="020F030202020403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600">
          <a:solidFill>
            <a:schemeClr val="accent2"/>
          </a:solidFill>
          <a:latin typeface="Calibri Light" panose="020F0302020204030204" pitchFamily="34" charset="0"/>
          <a:cs typeface="Calibri Light" panose="020F030202020403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600">
          <a:solidFill>
            <a:schemeClr val="accent2"/>
          </a:solidFill>
          <a:latin typeface="Calibri Light" panose="020F0302020204030204" pitchFamily="34" charset="0"/>
          <a:cs typeface="Calibri Light" panose="020F030202020403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600">
          <a:solidFill>
            <a:schemeClr val="accent2"/>
          </a:solidFill>
          <a:latin typeface="Calibri Light" panose="020F0302020204030204" pitchFamily="34" charset="0"/>
          <a:cs typeface="Calibri Light" panose="020F030202020403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600">
          <a:solidFill>
            <a:schemeClr val="accent2"/>
          </a:solidFill>
          <a:latin typeface="Calibri Light" panose="020F0302020204030204" pitchFamily="34" charset="0"/>
          <a:cs typeface="Calibri Light" panose="020F03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800" kern="1200" spc="40">
          <a:solidFill>
            <a:schemeClr val="tx1"/>
          </a:solidFill>
          <a:latin typeface="Calibri Light"/>
          <a:ea typeface="Calibri Light" panose="020F0302020204030204" pitchFamily="34" charset="0"/>
          <a:cs typeface="Calibri Light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400" kern="1200" spc="40">
          <a:solidFill>
            <a:schemeClr val="tx1"/>
          </a:solidFill>
          <a:latin typeface="Calibri Light"/>
          <a:ea typeface="Calibri Light" panose="020F0302020204030204" pitchFamily="34" charset="0"/>
          <a:cs typeface="Calibri Light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000" kern="1200" spc="40">
          <a:solidFill>
            <a:schemeClr val="tx1"/>
          </a:solidFill>
          <a:latin typeface="Calibri Light"/>
          <a:ea typeface="Calibri Light" panose="020F0302020204030204" pitchFamily="34" charset="0"/>
          <a:cs typeface="Calibri Light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000" kern="1200" spc="40">
          <a:solidFill>
            <a:schemeClr val="tx1"/>
          </a:solidFill>
          <a:latin typeface="Calibri Light"/>
          <a:ea typeface="Calibri Light" panose="020F0302020204030204" pitchFamily="34" charset="0"/>
          <a:cs typeface="Calibri Light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000" kern="1200" spc="40">
          <a:solidFill>
            <a:schemeClr val="tx1"/>
          </a:solidFill>
          <a:latin typeface="Calibri Light"/>
          <a:ea typeface="Calibri Light" panose="020F0302020204030204" pitchFamily="34" charset="0"/>
          <a:cs typeface="Calibri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Placeholder 6">
            <a:extLst>
              <a:ext uri="{FF2B5EF4-FFF2-40B4-BE49-F238E27FC236}">
                <a16:creationId xmlns:a16="http://schemas.microsoft.com/office/drawing/2014/main" xmlns="" id="{770146B9-77A4-47B9-B5CD-A314545C599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6387" name="Text Placeholder 7">
            <a:extLst>
              <a:ext uri="{FF2B5EF4-FFF2-40B4-BE49-F238E27FC236}">
                <a16:creationId xmlns:a16="http://schemas.microsoft.com/office/drawing/2014/main" xmlns="" id="{D9FB80D5-133B-4A79-8B69-15F5C662B95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7017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33363" indent="-23336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4350" indent="-28575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0">
            <a:extLst>
              <a:ext uri="{FF2B5EF4-FFF2-40B4-BE49-F238E27FC236}">
                <a16:creationId xmlns:a16="http://schemas.microsoft.com/office/drawing/2014/main" xmlns="" id="{6BDEB48A-0C27-4EC1-B9A5-63C615D8E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91440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5" name="Slide Number Placeholder 24">
            <a:extLst>
              <a:ext uri="{FF2B5EF4-FFF2-40B4-BE49-F238E27FC236}">
                <a16:creationId xmlns:a16="http://schemas.microsoft.com/office/drawing/2014/main" xmlns="" id="{3740E779-B23B-4C34-938F-572E91C5B078}"/>
              </a:ext>
            </a:extLst>
          </p:cNvPr>
          <p:cNvSpPr txBox="1">
            <a:spLocks/>
          </p:cNvSpPr>
          <p:nvPr/>
        </p:nvSpPr>
        <p:spPr bwMode="auto">
          <a:xfrm>
            <a:off x="146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CF011B8E-9CC1-4E23-860F-D9064FB8CF82}" type="slidenum">
              <a:rPr lang="en-US" sz="1400">
                <a:solidFill>
                  <a:schemeClr val="bg1"/>
                </a:solidFill>
              </a:rPr>
              <a:pPr eaLnBrk="1" hangingPunct="1">
                <a:defRPr/>
              </a:pPr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030" name="TextBox 12">
            <a:extLst>
              <a:ext uri="{FF2B5EF4-FFF2-40B4-BE49-F238E27FC236}">
                <a16:creationId xmlns:a16="http://schemas.microsoft.com/office/drawing/2014/main" xmlns="" id="{D8B6530E-B7F6-473A-8EF6-389D185AFF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413" y="6435725"/>
            <a:ext cx="7116762" cy="3698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000">
                <a:solidFill>
                  <a:schemeClr val="bg1"/>
                </a:solidFill>
              </a:rPr>
              <a:t>© 2019 The Conference Board, Inc.  |  www.conferenceboard.org</a:t>
            </a:r>
            <a:r>
              <a:rPr lang="en-US" altLang="en-US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52DF307B-6360-414D-BE55-8BCADB02D9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7018" r:id="rId1"/>
    <p:sldLayoutId id="2147497019" r:id="rId2"/>
    <p:sldLayoutId id="2147497020" r:id="rId3"/>
    <p:sldLayoutId id="2147497021" r:id="rId4"/>
    <p:sldLayoutId id="2147497022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9113" indent="-28575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10">
            <a:extLst>
              <a:ext uri="{FF2B5EF4-FFF2-40B4-BE49-F238E27FC236}">
                <a16:creationId xmlns:a16="http://schemas.microsoft.com/office/drawing/2014/main" xmlns="" id="{DFDFFD3E-8123-4FFA-AEC6-BCCB903B5A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91440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Title Placeholder 6">
            <a:extLst>
              <a:ext uri="{FF2B5EF4-FFF2-40B4-BE49-F238E27FC236}">
                <a16:creationId xmlns:a16="http://schemas.microsoft.com/office/drawing/2014/main" xmlns="" id="{7B85B6B5-7D45-4EB4-B6CD-679DB5E94F3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5" name="Slide Number Placeholder 24">
            <a:extLst>
              <a:ext uri="{FF2B5EF4-FFF2-40B4-BE49-F238E27FC236}">
                <a16:creationId xmlns:a16="http://schemas.microsoft.com/office/drawing/2014/main" xmlns="" id="{DCFC2051-7C1E-4131-9E97-59CF13F96C4C}"/>
              </a:ext>
            </a:extLst>
          </p:cNvPr>
          <p:cNvSpPr txBox="1">
            <a:spLocks/>
          </p:cNvSpPr>
          <p:nvPr/>
        </p:nvSpPr>
        <p:spPr bwMode="auto">
          <a:xfrm>
            <a:off x="146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78F02D82-FA3C-4EC3-8962-4D8ABDAA4F63}" type="slidenum">
              <a:rPr lang="en-US" sz="1400">
                <a:solidFill>
                  <a:schemeClr val="bg1"/>
                </a:solidFill>
              </a:rPr>
              <a:pPr eaLnBrk="1" hangingPunct="1">
                <a:defRPr/>
              </a:pPr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8437" name="Text Placeholder 7">
            <a:extLst>
              <a:ext uri="{FF2B5EF4-FFF2-40B4-BE49-F238E27FC236}">
                <a16:creationId xmlns:a16="http://schemas.microsoft.com/office/drawing/2014/main" xmlns="" id="{8457D82E-B07F-4716-9906-5286376EC3E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8438" name="TextBox 12">
            <a:extLst>
              <a:ext uri="{FF2B5EF4-FFF2-40B4-BE49-F238E27FC236}">
                <a16:creationId xmlns:a16="http://schemas.microsoft.com/office/drawing/2014/main" xmlns="" id="{09D34D7F-33D6-4B75-BFFC-499C3E301D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413" y="6435725"/>
            <a:ext cx="7116762" cy="3698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>
                <a:solidFill>
                  <a:schemeClr val="bg1"/>
                </a:solidFill>
              </a:rPr>
              <a:t>© 2019 The Conference Board, Inc.  |  www.conferenceboard.org</a:t>
            </a:r>
            <a:r>
              <a:rPr lang="en-US" altLang="en-US">
                <a:solidFill>
                  <a:schemeClr val="bg1"/>
                </a:solidFill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7024" r:id="rId1"/>
    <p:sldLayoutId id="2147496926" r:id="rId2"/>
    <p:sldLayoutId id="2147496927" r:id="rId3"/>
    <p:sldLayoutId id="2147496928" r:id="rId4"/>
    <p:sldLayoutId id="2147496929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9113" indent="-28575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10">
            <a:extLst>
              <a:ext uri="{FF2B5EF4-FFF2-40B4-BE49-F238E27FC236}">
                <a16:creationId xmlns:a16="http://schemas.microsoft.com/office/drawing/2014/main" xmlns="" id="{B8C998FD-32F7-4200-9A8B-D9373AB4A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91440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Title Placeholder 6">
            <a:extLst>
              <a:ext uri="{FF2B5EF4-FFF2-40B4-BE49-F238E27FC236}">
                <a16:creationId xmlns:a16="http://schemas.microsoft.com/office/drawing/2014/main" xmlns="" id="{980A60A0-AAA8-48E6-B547-376044A2D553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5" name="Slide Number Placeholder 24">
            <a:extLst>
              <a:ext uri="{FF2B5EF4-FFF2-40B4-BE49-F238E27FC236}">
                <a16:creationId xmlns:a16="http://schemas.microsoft.com/office/drawing/2014/main" xmlns="" id="{A75B6D3F-11FF-4AD0-A60A-4F6E12305FE3}"/>
              </a:ext>
            </a:extLst>
          </p:cNvPr>
          <p:cNvSpPr txBox="1">
            <a:spLocks/>
          </p:cNvSpPr>
          <p:nvPr/>
        </p:nvSpPr>
        <p:spPr bwMode="auto">
          <a:xfrm>
            <a:off x="146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DA69E968-2591-4DC8-840B-6CE40EDF1F27}" type="slidenum">
              <a:rPr lang="en-US" sz="1400">
                <a:solidFill>
                  <a:schemeClr val="bg1"/>
                </a:solidFill>
              </a:rPr>
              <a:pPr eaLnBrk="1" hangingPunct="1">
                <a:defRPr/>
              </a:pPr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9461" name="Text Placeholder 7">
            <a:extLst>
              <a:ext uri="{FF2B5EF4-FFF2-40B4-BE49-F238E27FC236}">
                <a16:creationId xmlns:a16="http://schemas.microsoft.com/office/drawing/2014/main" xmlns="" id="{ADABB7DE-01C4-4DA4-8784-991B27E4817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078" name="TextBox 12">
            <a:extLst>
              <a:ext uri="{FF2B5EF4-FFF2-40B4-BE49-F238E27FC236}">
                <a16:creationId xmlns:a16="http://schemas.microsoft.com/office/drawing/2014/main" xmlns="" id="{63AD599C-FF09-4BF9-A59A-50FE442AA3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413" y="6435725"/>
            <a:ext cx="7116762" cy="3698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>
                <a:solidFill>
                  <a:schemeClr val="bg1"/>
                </a:solidFill>
              </a:rPr>
              <a:t>© 2019 The Conference Board, Inc.  |  www.conferenceboard.org</a:t>
            </a:r>
            <a:r>
              <a:rPr lang="en-US" altLang="en-US">
                <a:solidFill>
                  <a:schemeClr val="bg1"/>
                </a:solidFill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7025" r:id="rId1"/>
    <p:sldLayoutId id="2147496930" r:id="rId2"/>
    <p:sldLayoutId id="2147496931" r:id="rId3"/>
    <p:sldLayoutId id="2147496932" r:id="rId4"/>
    <p:sldLayoutId id="2147496933" r:id="rId5"/>
    <p:sldLayoutId id="2147497026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9113" indent="-28575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6">
            <a:extLst>
              <a:ext uri="{FF2B5EF4-FFF2-40B4-BE49-F238E27FC236}">
                <a16:creationId xmlns:a16="http://schemas.microsoft.com/office/drawing/2014/main" xmlns="" id="{4886DFFD-1984-44EC-A964-3AE57ABEBC2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7">
            <a:extLst>
              <a:ext uri="{FF2B5EF4-FFF2-40B4-BE49-F238E27FC236}">
                <a16:creationId xmlns:a16="http://schemas.microsoft.com/office/drawing/2014/main" xmlns="" id="{E83C3376-0A3E-450F-BFAC-FD90C7B091E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6938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33363" indent="-23336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4350" indent="-28575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10">
            <a:extLst>
              <a:ext uri="{FF2B5EF4-FFF2-40B4-BE49-F238E27FC236}">
                <a16:creationId xmlns:a16="http://schemas.microsoft.com/office/drawing/2014/main" xmlns="" id="{E1801BFC-940A-4BD0-A63C-914DE5E66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91440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3" name="Title Placeholder 6">
            <a:extLst>
              <a:ext uri="{FF2B5EF4-FFF2-40B4-BE49-F238E27FC236}">
                <a16:creationId xmlns:a16="http://schemas.microsoft.com/office/drawing/2014/main" xmlns="" id="{2C8CF2A5-01E2-4CBA-8186-6A07161F6AC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5" name="Slide Number Placeholder 24">
            <a:extLst>
              <a:ext uri="{FF2B5EF4-FFF2-40B4-BE49-F238E27FC236}">
                <a16:creationId xmlns:a16="http://schemas.microsoft.com/office/drawing/2014/main" xmlns="" id="{85661ED7-037A-4D12-9472-1C913C186AFB}"/>
              </a:ext>
            </a:extLst>
          </p:cNvPr>
          <p:cNvSpPr txBox="1">
            <a:spLocks/>
          </p:cNvSpPr>
          <p:nvPr/>
        </p:nvSpPr>
        <p:spPr bwMode="auto">
          <a:xfrm>
            <a:off x="146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F641D5A-D4DB-49CC-8411-2EE4C70F0AC7}" type="slidenum">
              <a:rPr lang="en-US" sz="1400">
                <a:solidFill>
                  <a:schemeClr val="bg1"/>
                </a:solidFill>
              </a:rPr>
              <a:pPr eaLnBrk="1" hangingPunct="1">
                <a:defRPr/>
              </a:pPr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20485" name="Text Placeholder 7">
            <a:extLst>
              <a:ext uri="{FF2B5EF4-FFF2-40B4-BE49-F238E27FC236}">
                <a16:creationId xmlns:a16="http://schemas.microsoft.com/office/drawing/2014/main" xmlns="" id="{5C843ADE-7412-4DD1-BC6D-F91F3095CF9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0486" name="TextBox 12">
            <a:extLst>
              <a:ext uri="{FF2B5EF4-FFF2-40B4-BE49-F238E27FC236}">
                <a16:creationId xmlns:a16="http://schemas.microsoft.com/office/drawing/2014/main" xmlns="" id="{E75E1C74-5553-41F8-8B36-78BF974B41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413" y="6435725"/>
            <a:ext cx="7116762" cy="3698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>
                <a:solidFill>
                  <a:schemeClr val="bg1"/>
                </a:solidFill>
              </a:rPr>
              <a:t>© 2019 The Conference Board, Inc.  |  www.conferenceboard.org</a:t>
            </a:r>
            <a:r>
              <a:rPr lang="en-US" altLang="en-US">
                <a:solidFill>
                  <a:schemeClr val="bg1"/>
                </a:solidFill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7027" r:id="rId1"/>
    <p:sldLayoutId id="2147496934" r:id="rId2"/>
    <p:sldLayoutId id="2147496935" r:id="rId3"/>
    <p:sldLayoutId id="2147496936" r:id="rId4"/>
    <p:sldLayoutId id="2147497028" r:id="rId5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9113" indent="-28575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10">
            <a:extLst>
              <a:ext uri="{FF2B5EF4-FFF2-40B4-BE49-F238E27FC236}">
                <a16:creationId xmlns:a16="http://schemas.microsoft.com/office/drawing/2014/main" xmlns="" id="{18320CB6-7BF7-47CE-91B6-2AA80A34F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9144000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5" name="Slide Number Placeholder 24">
            <a:extLst>
              <a:ext uri="{FF2B5EF4-FFF2-40B4-BE49-F238E27FC236}">
                <a16:creationId xmlns:a16="http://schemas.microsoft.com/office/drawing/2014/main" xmlns="" id="{1A7EAF29-D7F1-4698-8A7A-1519F9437668}"/>
              </a:ext>
            </a:extLst>
          </p:cNvPr>
          <p:cNvSpPr txBox="1">
            <a:spLocks/>
          </p:cNvSpPr>
          <p:nvPr/>
        </p:nvSpPr>
        <p:spPr bwMode="auto">
          <a:xfrm>
            <a:off x="146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511F0996-3518-4F76-9FF8-D549CCA1F0FC}" type="slidenum">
              <a:rPr lang="en-US" sz="1400">
                <a:solidFill>
                  <a:schemeClr val="bg1"/>
                </a:solidFill>
              </a:rPr>
              <a:pPr eaLnBrk="1" hangingPunct="1">
                <a:defRPr/>
              </a:pPr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1030" name="TextBox 12">
            <a:extLst>
              <a:ext uri="{FF2B5EF4-FFF2-40B4-BE49-F238E27FC236}">
                <a16:creationId xmlns:a16="http://schemas.microsoft.com/office/drawing/2014/main" xmlns="" id="{E197324F-58E8-4CF7-A496-010500B9ED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9413" y="6435725"/>
            <a:ext cx="7116762" cy="3698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000">
                <a:solidFill>
                  <a:schemeClr val="bg1"/>
                </a:solidFill>
              </a:rPr>
              <a:t>© 2019 The Conference Board, Inc.  |  www.conferenceboard.org</a:t>
            </a:r>
            <a:r>
              <a:rPr lang="en-US" altLang="en-US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B46B2253-0372-4AE7-B3BF-915953D1DD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7029" r:id="rId1"/>
    <p:sldLayoutId id="2147497030" r:id="rId2"/>
    <p:sldLayoutId id="2147497031" r:id="rId3"/>
    <p:sldLayoutId id="2147497032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9113" indent="-28575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6">
            <a:extLst>
              <a:ext uri="{FF2B5EF4-FFF2-40B4-BE49-F238E27FC236}">
                <a16:creationId xmlns:a16="http://schemas.microsoft.com/office/drawing/2014/main" xmlns="" id="{1F98CE67-B13B-45BC-8219-2C3F1093C7E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075" name="Text Placeholder 7">
            <a:extLst>
              <a:ext uri="{FF2B5EF4-FFF2-40B4-BE49-F238E27FC236}">
                <a16:creationId xmlns:a16="http://schemas.microsoft.com/office/drawing/2014/main" xmlns="" id="{5C567CBA-656B-4EEC-9B7C-29B17CA1703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1E3A8F4-9F17-467F-93C5-A009DF76F973}"/>
              </a:ext>
            </a:extLst>
          </p:cNvPr>
          <p:cNvSpPr/>
          <p:nvPr/>
        </p:nvSpPr>
        <p:spPr bwMode="auto">
          <a:xfrm>
            <a:off x="0" y="6415088"/>
            <a:ext cx="9144000" cy="442912"/>
          </a:xfrm>
          <a:prstGeom prst="rect">
            <a:avLst/>
          </a:prstGeom>
          <a:gradFill flip="none" rotWithShape="1">
            <a:gsLst>
              <a:gs pos="0">
                <a:srgbClr val="3BB4FF"/>
              </a:gs>
              <a:gs pos="50000">
                <a:srgbClr val="0086D0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30" name="Footer Placeholder 4">
            <a:hlinkClick r:id="rId3"/>
            <a:extLst>
              <a:ext uri="{FF2B5EF4-FFF2-40B4-BE49-F238E27FC236}">
                <a16:creationId xmlns:a16="http://schemas.microsoft.com/office/drawing/2014/main" xmlns="" id="{9EC48648-818E-4373-BE42-F2A6549A7385}"/>
              </a:ext>
            </a:extLst>
          </p:cNvPr>
          <p:cNvSpPr txBox="1">
            <a:spLocks/>
          </p:cNvSpPr>
          <p:nvPr/>
        </p:nvSpPr>
        <p:spPr bwMode="auto">
          <a:xfrm>
            <a:off x="2719388" y="6461125"/>
            <a:ext cx="1490662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chemeClr val="bg1"/>
                </a:solidFill>
              </a:rPr>
              <a:t>www.conferenceboard.org</a:t>
            </a:r>
          </a:p>
        </p:txBody>
      </p:sp>
      <p:sp>
        <p:nvSpPr>
          <p:cNvPr id="1031" name="TextBox 7">
            <a:extLst>
              <a:ext uri="{FF2B5EF4-FFF2-40B4-BE49-F238E27FC236}">
                <a16:creationId xmlns:a16="http://schemas.microsoft.com/office/drawing/2014/main" xmlns="" id="{D09726AD-BE37-45EC-9D89-DB2430C803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313" y="6481763"/>
            <a:ext cx="2306637" cy="32385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chemeClr val="bg1"/>
                </a:solidFill>
              </a:rPr>
              <a:t>© 2017 The Conference Board, Inc.   |</a:t>
            </a:r>
          </a:p>
        </p:txBody>
      </p:sp>
      <p:sp>
        <p:nvSpPr>
          <p:cNvPr id="1032" name="Slide Number Placeholder 24">
            <a:extLst>
              <a:ext uri="{FF2B5EF4-FFF2-40B4-BE49-F238E27FC236}">
                <a16:creationId xmlns:a16="http://schemas.microsoft.com/office/drawing/2014/main" xmlns="" id="{750FEF09-568E-4D05-92FB-F6922630BB30}"/>
              </a:ext>
            </a:extLst>
          </p:cNvPr>
          <p:cNvSpPr txBox="1">
            <a:spLocks/>
          </p:cNvSpPr>
          <p:nvPr/>
        </p:nvSpPr>
        <p:spPr bwMode="auto">
          <a:xfrm>
            <a:off x="273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46CEBFE2-2E55-498C-AC49-AB3B20118F45}" type="slidenum">
              <a:rPr lang="en-US" altLang="en-US" sz="900" smtClean="0">
                <a:solidFill>
                  <a:schemeClr val="bg1"/>
                </a:solidFill>
              </a:rPr>
              <a:pPr eaLnBrk="1" hangingPunct="1">
                <a:defRPr/>
              </a:pPr>
              <a:t>‹#›</a:t>
            </a:fld>
            <a:endParaRPr lang="en-US" altLang="en-US" sz="900">
              <a:solidFill>
                <a:schemeClr val="bg1"/>
              </a:solidFill>
            </a:endParaRPr>
          </a:p>
        </p:txBody>
      </p:sp>
      <p:pic>
        <p:nvPicPr>
          <p:cNvPr id="3080" name="Picture 8">
            <a:extLst>
              <a:ext uri="{FF2B5EF4-FFF2-40B4-BE49-F238E27FC236}">
                <a16:creationId xmlns:a16="http://schemas.microsoft.com/office/drawing/2014/main" xmlns="" id="{5A785B3E-DA9A-46D2-A5AB-558BD204572C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84" b="4587"/>
          <a:stretch>
            <a:fillRect/>
          </a:stretch>
        </p:blipFill>
        <p:spPr bwMode="auto">
          <a:xfrm>
            <a:off x="8482013" y="6415088"/>
            <a:ext cx="496887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6875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33363" indent="-23336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2763" indent="-2794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4FC30771-40BF-4BA7-86B9-A69240CF445E}"/>
              </a:ext>
            </a:extLst>
          </p:cNvPr>
          <p:cNvSpPr/>
          <p:nvPr/>
        </p:nvSpPr>
        <p:spPr bwMode="auto">
          <a:xfrm>
            <a:off x="0" y="6415088"/>
            <a:ext cx="9144000" cy="442912"/>
          </a:xfrm>
          <a:prstGeom prst="rect">
            <a:avLst/>
          </a:prstGeom>
          <a:gradFill flip="none" rotWithShape="1">
            <a:gsLst>
              <a:gs pos="0">
                <a:srgbClr val="3BB4FF"/>
              </a:gs>
              <a:gs pos="50000">
                <a:srgbClr val="0086D0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4099" name="Title Placeholder 6">
            <a:extLst>
              <a:ext uri="{FF2B5EF4-FFF2-40B4-BE49-F238E27FC236}">
                <a16:creationId xmlns:a16="http://schemas.microsoft.com/office/drawing/2014/main" xmlns="" id="{645FCCF3-B145-4F51-97AE-D02294B60EDE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3" name="Footer Placeholder 4">
            <a:hlinkClick r:id="rId6"/>
            <a:extLst>
              <a:ext uri="{FF2B5EF4-FFF2-40B4-BE49-F238E27FC236}">
                <a16:creationId xmlns:a16="http://schemas.microsoft.com/office/drawing/2014/main" xmlns="" id="{5039AA2A-972A-4CC1-AD38-9FEAE830D7A8}"/>
              </a:ext>
            </a:extLst>
          </p:cNvPr>
          <p:cNvSpPr txBox="1">
            <a:spLocks/>
          </p:cNvSpPr>
          <p:nvPr/>
        </p:nvSpPr>
        <p:spPr bwMode="auto">
          <a:xfrm>
            <a:off x="2719388" y="6461125"/>
            <a:ext cx="1490662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www.conferenceboard.org</a:t>
            </a:r>
          </a:p>
        </p:txBody>
      </p:sp>
      <p:sp>
        <p:nvSpPr>
          <p:cNvPr id="2054" name="TextBox 7">
            <a:extLst>
              <a:ext uri="{FF2B5EF4-FFF2-40B4-BE49-F238E27FC236}">
                <a16:creationId xmlns:a16="http://schemas.microsoft.com/office/drawing/2014/main" xmlns="" id="{99EA44BD-437E-4043-93EF-E409DFD928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313" y="6481763"/>
            <a:ext cx="2306637" cy="32385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© 2017 The Conference Board, Inc.   |</a:t>
            </a:r>
          </a:p>
        </p:txBody>
      </p:sp>
      <p:sp>
        <p:nvSpPr>
          <p:cNvPr id="2055" name="Slide Number Placeholder 24">
            <a:extLst>
              <a:ext uri="{FF2B5EF4-FFF2-40B4-BE49-F238E27FC236}">
                <a16:creationId xmlns:a16="http://schemas.microsoft.com/office/drawing/2014/main" xmlns="" id="{20303A39-B4A0-4314-AB22-D15F6E426A58}"/>
              </a:ext>
            </a:extLst>
          </p:cNvPr>
          <p:cNvSpPr txBox="1">
            <a:spLocks/>
          </p:cNvSpPr>
          <p:nvPr/>
        </p:nvSpPr>
        <p:spPr bwMode="auto">
          <a:xfrm>
            <a:off x="273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C19A7D9A-AF36-478A-9DFD-7AC16444957D}" type="slidenum">
              <a:rPr lang="en-US" altLang="en-US" sz="9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900">
              <a:solidFill>
                <a:srgbClr val="FFFFFF"/>
              </a:solidFill>
            </a:endParaRPr>
          </a:p>
        </p:txBody>
      </p:sp>
      <p:sp>
        <p:nvSpPr>
          <p:cNvPr id="4103" name="Text Placeholder 7">
            <a:extLst>
              <a:ext uri="{FF2B5EF4-FFF2-40B4-BE49-F238E27FC236}">
                <a16:creationId xmlns:a16="http://schemas.microsoft.com/office/drawing/2014/main" xmlns="" id="{C5F96837-F39D-4F35-B6CA-8E87EAF1734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4104" name="Picture 11">
            <a:extLst>
              <a:ext uri="{FF2B5EF4-FFF2-40B4-BE49-F238E27FC236}">
                <a16:creationId xmlns:a16="http://schemas.microsoft.com/office/drawing/2014/main" xmlns="" id="{63DDE520-F0CA-446C-83F2-ABF405953AA9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84" b="4587"/>
          <a:stretch>
            <a:fillRect/>
          </a:stretch>
        </p:blipFill>
        <p:spPr bwMode="auto">
          <a:xfrm>
            <a:off x="8482013" y="6415088"/>
            <a:ext cx="496887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6939" r:id="rId1"/>
    <p:sldLayoutId id="2147496876" r:id="rId2"/>
    <p:sldLayoutId id="2147496877" r:id="rId3"/>
    <p:sldLayoutId id="2147496878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286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9113" indent="-28575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6">
            <a:extLst>
              <a:ext uri="{FF2B5EF4-FFF2-40B4-BE49-F238E27FC236}">
                <a16:creationId xmlns:a16="http://schemas.microsoft.com/office/drawing/2014/main" xmlns="" id="{8CD9B7F6-C47A-4413-BD99-AD1C9B57056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5123" name="Text Placeholder 7">
            <a:extLst>
              <a:ext uri="{FF2B5EF4-FFF2-40B4-BE49-F238E27FC236}">
                <a16:creationId xmlns:a16="http://schemas.microsoft.com/office/drawing/2014/main" xmlns="" id="{D03F248A-62E7-4829-BAF6-B3F381E85BD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B4CAF02A-3D25-4966-B130-61E631601C62}"/>
              </a:ext>
            </a:extLst>
          </p:cNvPr>
          <p:cNvSpPr/>
          <p:nvPr/>
        </p:nvSpPr>
        <p:spPr bwMode="auto">
          <a:xfrm>
            <a:off x="0" y="6415088"/>
            <a:ext cx="9144000" cy="442912"/>
          </a:xfrm>
          <a:prstGeom prst="rect">
            <a:avLst/>
          </a:prstGeom>
          <a:gradFill flip="none" rotWithShape="1">
            <a:gsLst>
              <a:gs pos="0">
                <a:srgbClr val="3BB4FF"/>
              </a:gs>
              <a:gs pos="50000">
                <a:srgbClr val="0086D0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30" name="Footer Placeholder 4">
            <a:hlinkClick r:id="rId5"/>
            <a:extLst>
              <a:ext uri="{FF2B5EF4-FFF2-40B4-BE49-F238E27FC236}">
                <a16:creationId xmlns:a16="http://schemas.microsoft.com/office/drawing/2014/main" xmlns="" id="{2E122942-ED4A-4894-B677-A0D972CEF455}"/>
              </a:ext>
            </a:extLst>
          </p:cNvPr>
          <p:cNvSpPr txBox="1">
            <a:spLocks/>
          </p:cNvSpPr>
          <p:nvPr/>
        </p:nvSpPr>
        <p:spPr bwMode="auto">
          <a:xfrm>
            <a:off x="2719388" y="6461125"/>
            <a:ext cx="1490662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www.conferenceboard.org</a:t>
            </a:r>
          </a:p>
        </p:txBody>
      </p:sp>
      <p:sp>
        <p:nvSpPr>
          <p:cNvPr id="1031" name="TextBox 7">
            <a:extLst>
              <a:ext uri="{FF2B5EF4-FFF2-40B4-BE49-F238E27FC236}">
                <a16:creationId xmlns:a16="http://schemas.microsoft.com/office/drawing/2014/main" xmlns="" id="{7CA48F20-A2FF-42FA-A1DC-D986CCAE44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313" y="6481763"/>
            <a:ext cx="2306637" cy="32385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© 2017 The Conference Board, Inc.   |</a:t>
            </a:r>
          </a:p>
        </p:txBody>
      </p:sp>
      <p:sp>
        <p:nvSpPr>
          <p:cNvPr id="1032" name="Slide Number Placeholder 24">
            <a:extLst>
              <a:ext uri="{FF2B5EF4-FFF2-40B4-BE49-F238E27FC236}">
                <a16:creationId xmlns:a16="http://schemas.microsoft.com/office/drawing/2014/main" xmlns="" id="{3BE49CFA-84A4-4E9B-9F36-BA60673FBFE4}"/>
              </a:ext>
            </a:extLst>
          </p:cNvPr>
          <p:cNvSpPr txBox="1">
            <a:spLocks/>
          </p:cNvSpPr>
          <p:nvPr/>
        </p:nvSpPr>
        <p:spPr bwMode="auto">
          <a:xfrm>
            <a:off x="273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8ACF200C-D8EE-4C3D-A673-49C377D25A6E}" type="slidenum">
              <a:rPr lang="en-US" altLang="en-US" sz="9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900">
              <a:solidFill>
                <a:srgbClr val="FFFFFF"/>
              </a:solidFill>
            </a:endParaRPr>
          </a:p>
        </p:txBody>
      </p:sp>
      <p:pic>
        <p:nvPicPr>
          <p:cNvPr id="5128" name="Picture 8">
            <a:extLst>
              <a:ext uri="{FF2B5EF4-FFF2-40B4-BE49-F238E27FC236}">
                <a16:creationId xmlns:a16="http://schemas.microsoft.com/office/drawing/2014/main" xmlns="" id="{F01DB853-8186-405E-9990-9987E85B5A85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84" b="4587"/>
          <a:stretch>
            <a:fillRect/>
          </a:stretch>
        </p:blipFill>
        <p:spPr bwMode="auto">
          <a:xfrm>
            <a:off x="8482013" y="6415088"/>
            <a:ext cx="496887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6879" r:id="rId1"/>
    <p:sldLayoutId id="2147496880" r:id="rId2"/>
    <p:sldLayoutId id="2147496940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33363" indent="-23336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2763" indent="-2794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6">
            <a:extLst>
              <a:ext uri="{FF2B5EF4-FFF2-40B4-BE49-F238E27FC236}">
                <a16:creationId xmlns:a16="http://schemas.microsoft.com/office/drawing/2014/main" xmlns="" id="{BBC0C5E8-362A-43FD-B898-14D3E084F71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7">
            <a:extLst>
              <a:ext uri="{FF2B5EF4-FFF2-40B4-BE49-F238E27FC236}">
                <a16:creationId xmlns:a16="http://schemas.microsoft.com/office/drawing/2014/main" xmlns="" id="{F4F8E1B1-C37D-4982-B985-1F00A678D607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B89DA1E-E895-4084-A321-D5E9CBAAA96B}"/>
              </a:ext>
            </a:extLst>
          </p:cNvPr>
          <p:cNvSpPr/>
          <p:nvPr/>
        </p:nvSpPr>
        <p:spPr bwMode="auto">
          <a:xfrm>
            <a:off x="0" y="6415088"/>
            <a:ext cx="9144000" cy="442912"/>
          </a:xfrm>
          <a:prstGeom prst="rect">
            <a:avLst/>
          </a:prstGeom>
          <a:gradFill flip="none" rotWithShape="1">
            <a:gsLst>
              <a:gs pos="0">
                <a:srgbClr val="3BB4FF"/>
              </a:gs>
              <a:gs pos="50000">
                <a:srgbClr val="0086D0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30" name="Footer Placeholder 4">
            <a:hlinkClick r:id="rId6"/>
            <a:extLst>
              <a:ext uri="{FF2B5EF4-FFF2-40B4-BE49-F238E27FC236}">
                <a16:creationId xmlns:a16="http://schemas.microsoft.com/office/drawing/2014/main" xmlns="" id="{B273FEAF-67F1-49B2-BAB0-BF039BECBEDA}"/>
              </a:ext>
            </a:extLst>
          </p:cNvPr>
          <p:cNvSpPr txBox="1">
            <a:spLocks/>
          </p:cNvSpPr>
          <p:nvPr/>
        </p:nvSpPr>
        <p:spPr bwMode="auto">
          <a:xfrm>
            <a:off x="2719388" y="6461125"/>
            <a:ext cx="1490662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www.conferenceboard.org</a:t>
            </a:r>
          </a:p>
        </p:txBody>
      </p:sp>
      <p:sp>
        <p:nvSpPr>
          <p:cNvPr id="1031" name="TextBox 7">
            <a:extLst>
              <a:ext uri="{FF2B5EF4-FFF2-40B4-BE49-F238E27FC236}">
                <a16:creationId xmlns:a16="http://schemas.microsoft.com/office/drawing/2014/main" xmlns="" id="{A0A36327-A9DB-4B86-8270-B4D4C7E846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313" y="6481763"/>
            <a:ext cx="2306637" cy="32385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© 2017 The Conference Board, Inc.   |</a:t>
            </a:r>
          </a:p>
        </p:txBody>
      </p:sp>
      <p:sp>
        <p:nvSpPr>
          <p:cNvPr id="1032" name="Slide Number Placeholder 24">
            <a:extLst>
              <a:ext uri="{FF2B5EF4-FFF2-40B4-BE49-F238E27FC236}">
                <a16:creationId xmlns:a16="http://schemas.microsoft.com/office/drawing/2014/main" xmlns="" id="{4AF47682-4C58-4B14-B196-E860EA0B1E89}"/>
              </a:ext>
            </a:extLst>
          </p:cNvPr>
          <p:cNvSpPr txBox="1">
            <a:spLocks/>
          </p:cNvSpPr>
          <p:nvPr/>
        </p:nvSpPr>
        <p:spPr bwMode="auto">
          <a:xfrm>
            <a:off x="273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909E4294-A9EB-4592-AB7A-E2B9E929ED16}" type="slidenum">
              <a:rPr lang="en-US" altLang="en-US" sz="9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900">
              <a:solidFill>
                <a:srgbClr val="FFFFFF"/>
              </a:solidFill>
            </a:endParaRPr>
          </a:p>
        </p:txBody>
      </p:sp>
      <p:pic>
        <p:nvPicPr>
          <p:cNvPr id="6152" name="Picture 8">
            <a:extLst>
              <a:ext uri="{FF2B5EF4-FFF2-40B4-BE49-F238E27FC236}">
                <a16:creationId xmlns:a16="http://schemas.microsoft.com/office/drawing/2014/main" xmlns="" id="{76CCC68C-D342-4DF3-AB95-1B6807CB70FF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84" b="4587"/>
          <a:stretch>
            <a:fillRect/>
          </a:stretch>
        </p:blipFill>
        <p:spPr bwMode="auto">
          <a:xfrm>
            <a:off x="8482013" y="6415088"/>
            <a:ext cx="496887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6881" r:id="rId1"/>
    <p:sldLayoutId id="2147496882" r:id="rId2"/>
    <p:sldLayoutId id="2147496883" r:id="rId3"/>
    <p:sldLayoutId id="2147496941" r:id="rId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33363" indent="-23336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2763" indent="-2794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Placeholder 6">
            <a:extLst>
              <a:ext uri="{FF2B5EF4-FFF2-40B4-BE49-F238E27FC236}">
                <a16:creationId xmlns:a16="http://schemas.microsoft.com/office/drawing/2014/main" xmlns="" id="{177F07C1-DBF2-426F-AC77-9C50818A106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171" name="Text Placeholder 7">
            <a:extLst>
              <a:ext uri="{FF2B5EF4-FFF2-40B4-BE49-F238E27FC236}">
                <a16:creationId xmlns:a16="http://schemas.microsoft.com/office/drawing/2014/main" xmlns="" id="{0632A4FC-AC8A-4B8B-870B-E8BD55B5978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89113C78-EC5E-4433-B5BE-70E3F0AB3B3D}"/>
              </a:ext>
            </a:extLst>
          </p:cNvPr>
          <p:cNvSpPr/>
          <p:nvPr/>
        </p:nvSpPr>
        <p:spPr bwMode="auto">
          <a:xfrm>
            <a:off x="0" y="6415088"/>
            <a:ext cx="9144000" cy="442912"/>
          </a:xfrm>
          <a:prstGeom prst="rect">
            <a:avLst/>
          </a:prstGeom>
          <a:gradFill flip="none" rotWithShape="1">
            <a:gsLst>
              <a:gs pos="0">
                <a:srgbClr val="3BB4FF"/>
              </a:gs>
              <a:gs pos="50000">
                <a:srgbClr val="0086D0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30" name="Footer Placeholder 4">
            <a:hlinkClick r:id="rId5"/>
            <a:extLst>
              <a:ext uri="{FF2B5EF4-FFF2-40B4-BE49-F238E27FC236}">
                <a16:creationId xmlns:a16="http://schemas.microsoft.com/office/drawing/2014/main" xmlns="" id="{0A5D842B-6CBC-4C2F-A62B-A1A57ABFBCF7}"/>
              </a:ext>
            </a:extLst>
          </p:cNvPr>
          <p:cNvSpPr txBox="1">
            <a:spLocks/>
          </p:cNvSpPr>
          <p:nvPr/>
        </p:nvSpPr>
        <p:spPr bwMode="auto">
          <a:xfrm>
            <a:off x="2719388" y="6461125"/>
            <a:ext cx="1490662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www.conferenceboard.org</a:t>
            </a:r>
          </a:p>
        </p:txBody>
      </p:sp>
      <p:sp>
        <p:nvSpPr>
          <p:cNvPr id="1031" name="TextBox 7">
            <a:extLst>
              <a:ext uri="{FF2B5EF4-FFF2-40B4-BE49-F238E27FC236}">
                <a16:creationId xmlns:a16="http://schemas.microsoft.com/office/drawing/2014/main" xmlns="" id="{87BDD059-7AD6-4F2F-B632-2F9DE040A2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313" y="6481763"/>
            <a:ext cx="2306637" cy="32385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© 2017 The Conference Board, Inc.   |</a:t>
            </a:r>
          </a:p>
        </p:txBody>
      </p:sp>
      <p:sp>
        <p:nvSpPr>
          <p:cNvPr id="1032" name="Slide Number Placeholder 24">
            <a:extLst>
              <a:ext uri="{FF2B5EF4-FFF2-40B4-BE49-F238E27FC236}">
                <a16:creationId xmlns:a16="http://schemas.microsoft.com/office/drawing/2014/main" xmlns="" id="{42C9E402-8672-446D-B938-A86DB7CDFF83}"/>
              </a:ext>
            </a:extLst>
          </p:cNvPr>
          <p:cNvSpPr txBox="1">
            <a:spLocks/>
          </p:cNvSpPr>
          <p:nvPr/>
        </p:nvSpPr>
        <p:spPr bwMode="auto">
          <a:xfrm>
            <a:off x="273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634B2497-0C5B-48F2-B7F3-02B5CE7E8832}" type="slidenum">
              <a:rPr lang="en-US" altLang="en-US" sz="9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900">
              <a:solidFill>
                <a:srgbClr val="FFFFFF"/>
              </a:solidFill>
            </a:endParaRPr>
          </a:p>
        </p:txBody>
      </p:sp>
      <p:pic>
        <p:nvPicPr>
          <p:cNvPr id="7176" name="Picture 8">
            <a:extLst>
              <a:ext uri="{FF2B5EF4-FFF2-40B4-BE49-F238E27FC236}">
                <a16:creationId xmlns:a16="http://schemas.microsoft.com/office/drawing/2014/main" xmlns="" id="{58EF415C-460F-442C-B42B-D1A56C3CBED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84" b="4587"/>
          <a:stretch>
            <a:fillRect/>
          </a:stretch>
        </p:blipFill>
        <p:spPr bwMode="auto">
          <a:xfrm>
            <a:off x="8482013" y="6415088"/>
            <a:ext cx="496887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6884" r:id="rId1"/>
    <p:sldLayoutId id="2147496885" r:id="rId2"/>
    <p:sldLayoutId id="2147496942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33363" indent="-23336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2763" indent="-2794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6">
            <a:extLst>
              <a:ext uri="{FF2B5EF4-FFF2-40B4-BE49-F238E27FC236}">
                <a16:creationId xmlns:a16="http://schemas.microsoft.com/office/drawing/2014/main" xmlns="" id="{5ED6B7B5-2A36-4B60-AFD2-D8A95660372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195" name="Text Placeholder 7">
            <a:extLst>
              <a:ext uri="{FF2B5EF4-FFF2-40B4-BE49-F238E27FC236}">
                <a16:creationId xmlns:a16="http://schemas.microsoft.com/office/drawing/2014/main" xmlns="" id="{44A520F3-FD2A-470E-BEEE-46AA02E69B1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DE936972-BB9C-4D46-8DBC-4D6913CAC1CF}"/>
              </a:ext>
            </a:extLst>
          </p:cNvPr>
          <p:cNvSpPr/>
          <p:nvPr/>
        </p:nvSpPr>
        <p:spPr bwMode="auto">
          <a:xfrm>
            <a:off x="0" y="6415088"/>
            <a:ext cx="9144000" cy="442912"/>
          </a:xfrm>
          <a:prstGeom prst="rect">
            <a:avLst/>
          </a:prstGeom>
          <a:gradFill flip="none" rotWithShape="1">
            <a:gsLst>
              <a:gs pos="0">
                <a:srgbClr val="3BB4FF"/>
              </a:gs>
              <a:gs pos="50000">
                <a:srgbClr val="0086D0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30" name="Footer Placeholder 4">
            <a:hlinkClick r:id="rId5"/>
            <a:extLst>
              <a:ext uri="{FF2B5EF4-FFF2-40B4-BE49-F238E27FC236}">
                <a16:creationId xmlns:a16="http://schemas.microsoft.com/office/drawing/2014/main" xmlns="" id="{106668B5-BFA2-4720-BB70-E0486D51538B}"/>
              </a:ext>
            </a:extLst>
          </p:cNvPr>
          <p:cNvSpPr txBox="1">
            <a:spLocks/>
          </p:cNvSpPr>
          <p:nvPr/>
        </p:nvSpPr>
        <p:spPr bwMode="auto">
          <a:xfrm>
            <a:off x="2719388" y="6461125"/>
            <a:ext cx="1490662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www.conferenceboard.org</a:t>
            </a:r>
          </a:p>
        </p:txBody>
      </p:sp>
      <p:sp>
        <p:nvSpPr>
          <p:cNvPr id="1031" name="TextBox 7">
            <a:extLst>
              <a:ext uri="{FF2B5EF4-FFF2-40B4-BE49-F238E27FC236}">
                <a16:creationId xmlns:a16="http://schemas.microsoft.com/office/drawing/2014/main" xmlns="" id="{3E31F24A-3843-403B-B98C-6993E74F9E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313" y="6481763"/>
            <a:ext cx="2306637" cy="32385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© 2017 The Conference Board, Inc.   |</a:t>
            </a:r>
          </a:p>
        </p:txBody>
      </p:sp>
      <p:sp>
        <p:nvSpPr>
          <p:cNvPr id="1032" name="Slide Number Placeholder 24">
            <a:extLst>
              <a:ext uri="{FF2B5EF4-FFF2-40B4-BE49-F238E27FC236}">
                <a16:creationId xmlns:a16="http://schemas.microsoft.com/office/drawing/2014/main" xmlns="" id="{4A120B95-A704-4761-9503-F1B437C97931}"/>
              </a:ext>
            </a:extLst>
          </p:cNvPr>
          <p:cNvSpPr txBox="1">
            <a:spLocks/>
          </p:cNvSpPr>
          <p:nvPr/>
        </p:nvSpPr>
        <p:spPr bwMode="auto">
          <a:xfrm>
            <a:off x="273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F8E8788C-7365-445D-9B17-21304CF36E86}" type="slidenum">
              <a:rPr lang="en-US" altLang="en-US" sz="9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900">
              <a:solidFill>
                <a:srgbClr val="FFFFFF"/>
              </a:solidFill>
            </a:endParaRPr>
          </a:p>
        </p:txBody>
      </p:sp>
      <p:pic>
        <p:nvPicPr>
          <p:cNvPr id="8200" name="Picture 8">
            <a:extLst>
              <a:ext uri="{FF2B5EF4-FFF2-40B4-BE49-F238E27FC236}">
                <a16:creationId xmlns:a16="http://schemas.microsoft.com/office/drawing/2014/main" xmlns="" id="{9522969E-242D-424A-9D23-6B88B6CC70AA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84" b="4587"/>
          <a:stretch>
            <a:fillRect/>
          </a:stretch>
        </p:blipFill>
        <p:spPr bwMode="auto">
          <a:xfrm>
            <a:off x="8482013" y="6415088"/>
            <a:ext cx="496887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6886" r:id="rId1"/>
    <p:sldLayoutId id="2147496943" r:id="rId2"/>
    <p:sldLayoutId id="2147496887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33363" indent="-23336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2763" indent="-2794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Placeholder 6">
            <a:extLst>
              <a:ext uri="{FF2B5EF4-FFF2-40B4-BE49-F238E27FC236}">
                <a16:creationId xmlns:a16="http://schemas.microsoft.com/office/drawing/2014/main" xmlns="" id="{9EB1C6E3-8357-452C-91CF-D3AA28A470F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73100" y="587375"/>
            <a:ext cx="8013700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9219" name="Text Placeholder 7">
            <a:extLst>
              <a:ext uri="{FF2B5EF4-FFF2-40B4-BE49-F238E27FC236}">
                <a16:creationId xmlns:a16="http://schemas.microsoft.com/office/drawing/2014/main" xmlns="" id="{6E991B90-9292-4773-8DDD-C473BBAF57D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81038" y="1820863"/>
            <a:ext cx="8024812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E6CF6E5E-A4A6-49AC-8CFA-2246C07F2940}"/>
              </a:ext>
            </a:extLst>
          </p:cNvPr>
          <p:cNvSpPr/>
          <p:nvPr/>
        </p:nvSpPr>
        <p:spPr bwMode="auto">
          <a:xfrm>
            <a:off x="0" y="6415088"/>
            <a:ext cx="9144000" cy="442912"/>
          </a:xfrm>
          <a:prstGeom prst="rect">
            <a:avLst/>
          </a:prstGeom>
          <a:gradFill flip="none" rotWithShape="1">
            <a:gsLst>
              <a:gs pos="0">
                <a:srgbClr val="3BB4FF"/>
              </a:gs>
              <a:gs pos="50000">
                <a:srgbClr val="0086D0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30" name="Footer Placeholder 4">
            <a:hlinkClick r:id="rId3"/>
            <a:extLst>
              <a:ext uri="{FF2B5EF4-FFF2-40B4-BE49-F238E27FC236}">
                <a16:creationId xmlns:a16="http://schemas.microsoft.com/office/drawing/2014/main" xmlns="" id="{803BA474-BC94-4E46-B23B-43741FC3E12D}"/>
              </a:ext>
            </a:extLst>
          </p:cNvPr>
          <p:cNvSpPr txBox="1">
            <a:spLocks/>
          </p:cNvSpPr>
          <p:nvPr/>
        </p:nvSpPr>
        <p:spPr bwMode="auto">
          <a:xfrm>
            <a:off x="2719388" y="6461125"/>
            <a:ext cx="1490662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www.conferenceboard.org</a:t>
            </a:r>
          </a:p>
        </p:txBody>
      </p:sp>
      <p:sp>
        <p:nvSpPr>
          <p:cNvPr id="1031" name="TextBox 7">
            <a:extLst>
              <a:ext uri="{FF2B5EF4-FFF2-40B4-BE49-F238E27FC236}">
                <a16:creationId xmlns:a16="http://schemas.microsoft.com/office/drawing/2014/main" xmlns="" id="{71B6C61C-93D7-4AC7-81F4-B76D99E3FC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313" y="6481763"/>
            <a:ext cx="2306637" cy="323850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FFFFFF"/>
                </a:solidFill>
              </a:rPr>
              <a:t>© 2018 The Conference Board, Inc.   |</a:t>
            </a:r>
          </a:p>
        </p:txBody>
      </p:sp>
      <p:sp>
        <p:nvSpPr>
          <p:cNvPr id="1032" name="Slide Number Placeholder 24">
            <a:extLst>
              <a:ext uri="{FF2B5EF4-FFF2-40B4-BE49-F238E27FC236}">
                <a16:creationId xmlns:a16="http://schemas.microsoft.com/office/drawing/2014/main" xmlns="" id="{FC67A52E-CF7D-44BB-B72C-B8DA722DC1F8}"/>
              </a:ext>
            </a:extLst>
          </p:cNvPr>
          <p:cNvSpPr txBox="1">
            <a:spLocks/>
          </p:cNvSpPr>
          <p:nvPr/>
        </p:nvSpPr>
        <p:spPr bwMode="auto">
          <a:xfrm>
            <a:off x="273050" y="6461125"/>
            <a:ext cx="381000" cy="36512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C0D198F6-32FC-4E63-BAA8-A17576B35D88}" type="slidenum">
              <a:rPr lang="en-US" altLang="en-US" sz="900" smtClean="0">
                <a:solidFill>
                  <a:srgbClr val="FFFFFF"/>
                </a:solidFill>
              </a:rPr>
              <a:pPr eaLnBrk="1" hangingPunct="1">
                <a:defRPr/>
              </a:pPr>
              <a:t>‹#›</a:t>
            </a:fld>
            <a:endParaRPr lang="en-US" altLang="en-US" sz="900">
              <a:solidFill>
                <a:srgbClr val="FFFFFF"/>
              </a:solidFill>
            </a:endParaRPr>
          </a:p>
        </p:txBody>
      </p:sp>
      <p:pic>
        <p:nvPicPr>
          <p:cNvPr id="9224" name="Picture 8">
            <a:extLst>
              <a:ext uri="{FF2B5EF4-FFF2-40B4-BE49-F238E27FC236}">
                <a16:creationId xmlns:a16="http://schemas.microsoft.com/office/drawing/2014/main" xmlns="" id="{562AA353-6ACA-47D0-8B77-DAB69A0EC96E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84" b="4587"/>
          <a:stretch>
            <a:fillRect/>
          </a:stretch>
        </p:blipFill>
        <p:spPr bwMode="auto">
          <a:xfrm>
            <a:off x="8482013" y="6415088"/>
            <a:ext cx="496887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6888" r:id="rId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33363" indent="-233363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§"/>
        <a:defRPr sz="20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512763" indent="-2794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Wingdings" panose="05000000000000000000" pitchFamily="2" charset="2"/>
        <a:buChar char=""/>
        <a:defRPr kern="1200">
          <a:solidFill>
            <a:schemeClr val="tx2"/>
          </a:solidFill>
          <a:latin typeface="+mj-lt"/>
          <a:ea typeface="+mn-ea"/>
          <a:cs typeface="Arial" pitchFamily="34" charset="0"/>
        </a:defRPr>
      </a:lvl2pPr>
      <a:lvl3pPr marL="7493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973138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1206500" indent="-228600" algn="l" rtl="0" eaLnBrk="0" fontAlgn="base" hangingPunct="0">
        <a:spcBef>
          <a:spcPts val="6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sz="14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Title 1">
            <a:extLst>
              <a:ext uri="{FF2B5EF4-FFF2-40B4-BE49-F238E27FC236}">
                <a16:creationId xmlns:a16="http://schemas.microsoft.com/office/drawing/2014/main" xmlns="" id="{458B3BE7-2AE3-40B7-AECE-07629582D0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300163"/>
            <a:ext cx="7772400" cy="454025"/>
          </a:xfrm>
        </p:spPr>
        <p:txBody>
          <a:bodyPr/>
          <a:lstStyle/>
          <a:p>
            <a:pPr eaLnBrk="1" hangingPunct="1"/>
            <a:r>
              <a:rPr lang="en-US" altLang="en-US" dirty="0"/>
              <a:t>Demand for older workers – NBER workshop</a:t>
            </a:r>
            <a:endParaRPr lang="en-US" altLang="en-US" baseline="30000" dirty="0"/>
          </a:p>
        </p:txBody>
      </p:sp>
      <p:sp>
        <p:nvSpPr>
          <p:cNvPr id="122883" name="Subtitle 2">
            <a:extLst>
              <a:ext uri="{FF2B5EF4-FFF2-40B4-BE49-F238E27FC236}">
                <a16:creationId xmlns:a16="http://schemas.microsoft.com/office/drawing/2014/main" xmlns="" id="{4BD49801-68EA-4887-863D-3E135C430E7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3100" y="1749425"/>
            <a:ext cx="8166100" cy="601663"/>
          </a:xfrm>
        </p:spPr>
        <p:txBody>
          <a:bodyPr/>
          <a:lstStyle/>
          <a:p>
            <a:r>
              <a:rPr lang="en-US" altLang="en-US" b="1" dirty="0"/>
              <a:t>Gad Levanon</a:t>
            </a:r>
          </a:p>
          <a:p>
            <a:r>
              <a:rPr lang="en-US" altLang="en-US" dirty="0"/>
              <a:t>October 2019</a:t>
            </a:r>
          </a:p>
        </p:txBody>
      </p:sp>
      <p:pic>
        <p:nvPicPr>
          <p:cNvPr id="122884" name="Picture 5">
            <a:extLst>
              <a:ext uri="{FF2B5EF4-FFF2-40B4-BE49-F238E27FC236}">
                <a16:creationId xmlns:a16="http://schemas.microsoft.com/office/drawing/2014/main" xmlns="" id="{4E25B313-3875-43F6-8739-FD97D60CF1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49500"/>
            <a:ext cx="9144000" cy="454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Title 1">
            <a:extLst>
              <a:ext uri="{FF2B5EF4-FFF2-40B4-BE49-F238E27FC236}">
                <a16:creationId xmlns:a16="http://schemas.microsoft.com/office/drawing/2014/main" xmlns="" id="{5267DCFA-3D36-445E-A476-32A80EF3C909}"/>
              </a:ext>
            </a:extLst>
          </p:cNvPr>
          <p:cNvSpPr txBox="1">
            <a:spLocks/>
          </p:cNvSpPr>
          <p:nvPr/>
        </p:nvSpPr>
        <p:spPr bwMode="auto">
          <a:xfrm>
            <a:off x="668338" y="593725"/>
            <a:ext cx="77882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lvl="3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altLang="en-US" sz="2400"/>
              <a:t>Overview</a:t>
            </a:r>
            <a:endParaRPr lang="en-US" altLang="en-US" sz="2400">
              <a:solidFill>
                <a:srgbClr val="0072B5"/>
              </a:solidFill>
            </a:endParaRPr>
          </a:p>
        </p:txBody>
      </p:sp>
      <p:sp>
        <p:nvSpPr>
          <p:cNvPr id="143363" name="Content Placeholder 2">
            <a:extLst>
              <a:ext uri="{FF2B5EF4-FFF2-40B4-BE49-F238E27FC236}">
                <a16:creationId xmlns:a16="http://schemas.microsoft.com/office/drawing/2014/main" xmlns="" id="{9A6A98C5-EF76-47D1-B8CD-000197EBEEBF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677863" y="1519311"/>
            <a:ext cx="7843837" cy="403217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This is a topic where employers are not very forthcoming about</a:t>
            </a:r>
          </a:p>
          <a:p>
            <a:pPr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Labor shortages solutions survey</a:t>
            </a:r>
          </a:p>
          <a:p>
            <a:pPr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Surprisingly, one of the least used solutions was “Providing new incentives to retain older workers in full or partial capacity”</a:t>
            </a:r>
          </a:p>
          <a:p>
            <a:pPr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But the impact of labor shortages makes a difference. We divided companies to “more impacted” versus “less impacted”</a:t>
            </a:r>
          </a:p>
          <a:p>
            <a:pPr lvl="1"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20 percent of the “more impacted” companies use this solution</a:t>
            </a:r>
          </a:p>
          <a:p>
            <a:pPr lvl="1"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Versus zero percent of the “less impacted”</a:t>
            </a:r>
          </a:p>
          <a:p>
            <a:pPr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Labor shortages are much more visible in blue-collar and manual services occupations</a:t>
            </a:r>
          </a:p>
          <a:p>
            <a:pPr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Overall, companies are not eager to retain older workers, but some will do it in a severe labor shortages environment</a:t>
            </a:r>
          </a:p>
          <a:p>
            <a:pPr>
              <a:spcBef>
                <a:spcPts val="1200"/>
              </a:spcBef>
            </a:pPr>
            <a:endParaRPr lang="en-US" altLang="en-US" dirty="0">
              <a:solidFill>
                <a:srgbClr val="0070C0"/>
              </a:solidFill>
            </a:endParaRPr>
          </a:p>
          <a:p>
            <a:pPr>
              <a:spcBef>
                <a:spcPts val="1200"/>
              </a:spcBef>
            </a:pPr>
            <a:endParaRPr lang="en-US" altLang="en-US" dirty="0">
              <a:solidFill>
                <a:srgbClr val="0070C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6" name="Title 3">
            <a:extLst>
              <a:ext uri="{FF2B5EF4-FFF2-40B4-BE49-F238E27FC236}">
                <a16:creationId xmlns:a16="http://schemas.microsoft.com/office/drawing/2014/main" xmlns="" id="{4F327BD6-6155-4244-AE84-F3EE58ABCC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41350" y="379413"/>
            <a:ext cx="8013700" cy="8366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sz="2600" dirty="0"/>
              <a:t>Wages are accelerating, especially for new hires and for blue-collar and manual services occupat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3ACC15A2-70D1-4857-8F44-023A39DB54CF}"/>
              </a:ext>
            </a:extLst>
          </p:cNvPr>
          <p:cNvSpPr txBox="1"/>
          <p:nvPr/>
        </p:nvSpPr>
        <p:spPr>
          <a:xfrm>
            <a:off x="704850" y="5576888"/>
            <a:ext cx="7950200" cy="784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buClr>
                <a:schemeClr val="tx1"/>
              </a:buClr>
              <a:defRPr/>
            </a:pPr>
            <a:endParaRPr lang="en-US" altLang="en-US" sz="900" dirty="0">
              <a:solidFill>
                <a:schemeClr val="bg1">
                  <a:lumMod val="50000"/>
                </a:schemeClr>
              </a:solidFill>
              <a:ea typeface="ＭＳ Ｐゴシック" panose="020B0600070205080204" pitchFamily="34" charset="-128"/>
            </a:endParaRPr>
          </a:p>
          <a:p>
            <a:pPr eaLnBrk="1" hangingPunct="1">
              <a:buClr>
                <a:schemeClr val="tx1"/>
              </a:buClr>
              <a:defRPr/>
            </a:pPr>
            <a:endParaRPr lang="en-US" altLang="en-US" sz="900" dirty="0">
              <a:solidFill>
                <a:schemeClr val="bg1">
                  <a:lumMod val="50000"/>
                </a:schemeClr>
              </a:solidFill>
              <a:ea typeface="ＭＳ Ｐゴシック" panose="020B0600070205080204" pitchFamily="34" charset="-128"/>
            </a:endParaRPr>
          </a:p>
          <a:p>
            <a:pPr eaLnBrk="1" hangingPunct="1">
              <a:buClr>
                <a:schemeClr val="tx1"/>
              </a:buClr>
              <a:defRPr/>
            </a:pPr>
            <a:endParaRPr lang="en-US" altLang="en-US" sz="900" dirty="0">
              <a:solidFill>
                <a:schemeClr val="bg1">
                  <a:lumMod val="50000"/>
                </a:schemeClr>
              </a:solidFill>
              <a:ea typeface="ＭＳ Ｐゴシック" panose="020B0600070205080204" pitchFamily="34" charset="-128"/>
            </a:endParaRPr>
          </a:p>
          <a:p>
            <a:pPr eaLnBrk="1" hangingPunct="1">
              <a:buClr>
                <a:schemeClr val="tx1"/>
              </a:buClr>
              <a:defRPr/>
            </a:pPr>
            <a:endParaRPr lang="en-US" altLang="en-US" sz="900" dirty="0">
              <a:solidFill>
                <a:schemeClr val="bg1">
                  <a:lumMod val="50000"/>
                </a:schemeClr>
              </a:solidFill>
              <a:ea typeface="ＭＳ Ｐゴシック" panose="020B0600070205080204" pitchFamily="34" charset="-128"/>
            </a:endParaRPr>
          </a:p>
          <a:p>
            <a:pPr eaLnBrk="1" hangingPunct="1">
              <a:buClr>
                <a:schemeClr val="tx1"/>
              </a:buClr>
              <a:defRPr/>
            </a:pPr>
            <a:r>
              <a:rPr lang="en-US" altLang="en-US" sz="900" dirty="0">
                <a:solidFill>
                  <a:schemeClr val="bg1">
                    <a:lumMod val="50000"/>
                  </a:schemeClr>
                </a:solidFill>
                <a:ea typeface="ＭＳ Ｐゴシック" panose="020B0600070205080204" pitchFamily="34" charset="-128"/>
              </a:rPr>
              <a:t>Source: US Bureau of Labor Statistics and calculations by The Conference Board.</a:t>
            </a:r>
            <a:endParaRPr lang="en-US" altLang="en-US" sz="900" i="1" dirty="0">
              <a:solidFill>
                <a:schemeClr val="bg1">
                  <a:lumMod val="50000"/>
                </a:schemeClr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80228" name="Title 3">
            <a:extLst>
              <a:ext uri="{FF2B5EF4-FFF2-40B4-BE49-F238E27FC236}">
                <a16:creationId xmlns:a16="http://schemas.microsoft.com/office/drawing/2014/main" xmlns="" id="{459FC744-3A57-4443-843B-FEBF191348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3100" y="1347788"/>
            <a:ext cx="8013700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9113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93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73138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2065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6637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1209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81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0353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>
                <a:solidFill>
                  <a:srgbClr val="595A5C"/>
                </a:solidFill>
              </a:rPr>
              <a:t>Year-over-year growth in the Employment Cost Index (wages and salaries), 2002 Q4 to 2019 Q2, 4-quarter moving average.</a:t>
            </a:r>
          </a:p>
        </p:txBody>
      </p:sp>
      <p:pic>
        <p:nvPicPr>
          <p:cNvPr id="180229" name="Picture 2">
            <a:extLst>
              <a:ext uri="{FF2B5EF4-FFF2-40B4-BE49-F238E27FC236}">
                <a16:creationId xmlns:a16="http://schemas.microsoft.com/office/drawing/2014/main" xmlns="" id="{401DF9CC-899A-4C49-B0A3-A3CEA663F6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2351088"/>
            <a:ext cx="7315200" cy="361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Title 1">
            <a:extLst>
              <a:ext uri="{FF2B5EF4-FFF2-40B4-BE49-F238E27FC236}">
                <a16:creationId xmlns:a16="http://schemas.microsoft.com/office/drawing/2014/main" xmlns="" id="{C1E88ABE-0B89-4A6A-BC28-8435F143A43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/>
              <a:t>The share of mature workers in employment is increasing, especially in blue-collar occupations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xmlns="" id="{BA433CFF-ED3A-4AEC-A6DD-CD7A0B2008D7}"/>
              </a:ext>
            </a:extLst>
          </p:cNvPr>
          <p:cNvSpPr txBox="1">
            <a:spLocks/>
          </p:cNvSpPr>
          <p:nvPr/>
        </p:nvSpPr>
        <p:spPr bwMode="auto">
          <a:xfrm>
            <a:off x="762000" y="1570038"/>
            <a:ext cx="81581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altLang="en-US" sz="1600" dirty="0">
                <a:solidFill>
                  <a:schemeClr val="tx2"/>
                </a:solidFill>
                <a:ea typeface="MS PGothic" panose="020B0600070205080204" pitchFamily="34" charset="-128"/>
              </a:rPr>
              <a:t>Share of workers aged 55 and above in employment by occupation group, 12-month moving average, 2005 to July 2019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xmlns="" id="{BAEE8D97-02B7-445E-972B-C5D92C2CA5BB}"/>
              </a:ext>
            </a:extLst>
          </p:cNvPr>
          <p:cNvSpPr txBox="1">
            <a:spLocks/>
          </p:cNvSpPr>
          <p:nvPr/>
        </p:nvSpPr>
        <p:spPr bwMode="auto">
          <a:xfrm>
            <a:off x="688975" y="5902325"/>
            <a:ext cx="7389813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endParaRPr lang="en-US" altLang="en-US" sz="1000" dirty="0">
              <a:solidFill>
                <a:schemeClr val="tx2"/>
              </a:solidFill>
            </a:endParaRPr>
          </a:p>
          <a:p>
            <a:pPr>
              <a:buClr>
                <a:schemeClr val="tx1"/>
              </a:buClr>
            </a:pPr>
            <a:endParaRPr lang="en-US" altLang="en-US" sz="1000" dirty="0">
              <a:solidFill>
                <a:schemeClr val="tx2"/>
              </a:solidFill>
            </a:endParaRPr>
          </a:p>
          <a:p>
            <a:pPr>
              <a:buClr>
                <a:schemeClr val="tx1"/>
              </a:buClr>
            </a:pPr>
            <a:r>
              <a:rPr lang="en-US" altLang="en-US" sz="1000" dirty="0">
                <a:solidFill>
                  <a:schemeClr val="tx2"/>
                </a:solidFill>
              </a:rPr>
              <a:t>Source: The Conference Board using microdata from IPUMS-CPS, University of Minnesota.</a:t>
            </a:r>
          </a:p>
          <a:p>
            <a:pPr>
              <a:buClr>
                <a:schemeClr val="tx1"/>
              </a:buClr>
            </a:pPr>
            <a:endParaRPr lang="en-US" altLang="en-US" sz="1000" dirty="0">
              <a:solidFill>
                <a:schemeClr val="tx2"/>
              </a:solidFill>
            </a:endParaRPr>
          </a:p>
          <a:p>
            <a:pPr>
              <a:buClr>
                <a:schemeClr val="tx1"/>
              </a:buClr>
            </a:pPr>
            <a:endParaRPr lang="en-US" altLang="en-US" sz="1000" dirty="0">
              <a:solidFill>
                <a:schemeClr val="tx2"/>
              </a:solidFill>
            </a:endParaRP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xmlns="" id="{1E2AFFEA-6F9E-4915-ADB6-93E104B744B7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206643" y="2217738"/>
            <a:ext cx="6730714" cy="3737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407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Title 1">
            <a:extLst>
              <a:ext uri="{FF2B5EF4-FFF2-40B4-BE49-F238E27FC236}">
                <a16:creationId xmlns:a16="http://schemas.microsoft.com/office/drawing/2014/main" xmlns="" id="{C1E88ABE-0B89-4A6A-BC28-8435F143A43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dirty="0"/>
              <a:t>Delaying retirement beyond 65 is more difficult in physically demanding blue-collar jobs</a:t>
            </a:r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xmlns="" id="{BA433CFF-ED3A-4AEC-A6DD-CD7A0B2008D7}"/>
              </a:ext>
            </a:extLst>
          </p:cNvPr>
          <p:cNvSpPr txBox="1">
            <a:spLocks/>
          </p:cNvSpPr>
          <p:nvPr/>
        </p:nvSpPr>
        <p:spPr bwMode="auto">
          <a:xfrm>
            <a:off x="762000" y="1570038"/>
            <a:ext cx="8158163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r>
              <a:rPr lang="en-US" altLang="en-US" sz="1600" dirty="0">
                <a:solidFill>
                  <a:schemeClr val="tx2"/>
                </a:solidFill>
                <a:ea typeface="MS PGothic" panose="020B0600070205080204" pitchFamily="34" charset="-128"/>
              </a:rPr>
              <a:t>Share of workers aged 65 and above in employment by occupation group, 12-month moving average, 2005 to July 2019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xmlns="" id="{BAEE8D97-02B7-445E-972B-C5D92C2CA5BB}"/>
              </a:ext>
            </a:extLst>
          </p:cNvPr>
          <p:cNvSpPr txBox="1">
            <a:spLocks/>
          </p:cNvSpPr>
          <p:nvPr/>
        </p:nvSpPr>
        <p:spPr bwMode="auto">
          <a:xfrm>
            <a:off x="688975" y="5902325"/>
            <a:ext cx="7389813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chemeClr val="tx1"/>
              </a:buClr>
            </a:pPr>
            <a:endParaRPr lang="en-US" altLang="en-US" sz="1000" dirty="0">
              <a:solidFill>
                <a:schemeClr val="tx2"/>
              </a:solidFill>
            </a:endParaRPr>
          </a:p>
          <a:p>
            <a:pPr>
              <a:buClr>
                <a:schemeClr val="tx1"/>
              </a:buClr>
            </a:pPr>
            <a:endParaRPr lang="en-US" altLang="en-US" sz="1000" dirty="0">
              <a:solidFill>
                <a:schemeClr val="tx2"/>
              </a:solidFill>
            </a:endParaRPr>
          </a:p>
          <a:p>
            <a:pPr>
              <a:buClr>
                <a:schemeClr val="tx1"/>
              </a:buClr>
            </a:pPr>
            <a:r>
              <a:rPr lang="en-US" altLang="en-US" sz="1000" dirty="0">
                <a:solidFill>
                  <a:schemeClr val="tx2"/>
                </a:solidFill>
              </a:rPr>
              <a:t>Source: The Conference Board using microdata from IPUMS-CPS, University of Minnesota.</a:t>
            </a:r>
          </a:p>
          <a:p>
            <a:pPr>
              <a:buClr>
                <a:schemeClr val="tx1"/>
              </a:buClr>
            </a:pPr>
            <a:endParaRPr lang="en-US" altLang="en-US" sz="1000" dirty="0">
              <a:solidFill>
                <a:schemeClr val="tx2"/>
              </a:solidFill>
            </a:endParaRPr>
          </a:p>
          <a:p>
            <a:pPr>
              <a:buClr>
                <a:schemeClr val="tx1"/>
              </a:buClr>
            </a:pPr>
            <a:endParaRPr lang="en-US" altLang="en-US" sz="1000" dirty="0">
              <a:solidFill>
                <a:schemeClr val="tx2"/>
              </a:solidFill>
            </a:endParaRP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xmlns="" id="{A8B27E26-81D2-47B6-A17B-33AC8A8A7EEF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327196" y="2217738"/>
            <a:ext cx="6489608" cy="3765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909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Title 1">
            <a:extLst>
              <a:ext uri="{FF2B5EF4-FFF2-40B4-BE49-F238E27FC236}">
                <a16:creationId xmlns:a16="http://schemas.microsoft.com/office/drawing/2014/main" xmlns="" id="{5267DCFA-3D36-445E-A476-32A80EF3C909}"/>
              </a:ext>
            </a:extLst>
          </p:cNvPr>
          <p:cNvSpPr txBox="1">
            <a:spLocks/>
          </p:cNvSpPr>
          <p:nvPr/>
        </p:nvSpPr>
        <p:spPr bwMode="auto">
          <a:xfrm>
            <a:off x="668338" y="593725"/>
            <a:ext cx="7788275" cy="473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lvl="3"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en-US" altLang="en-US" sz="2400" dirty="0"/>
              <a:t>Additional insights</a:t>
            </a:r>
            <a:endParaRPr lang="en-US" altLang="en-US" sz="2400" dirty="0">
              <a:solidFill>
                <a:srgbClr val="0072B5"/>
              </a:solidFill>
            </a:endParaRPr>
          </a:p>
        </p:txBody>
      </p:sp>
      <p:sp>
        <p:nvSpPr>
          <p:cNvPr id="143363" name="Content Placeholder 2">
            <a:extLst>
              <a:ext uri="{FF2B5EF4-FFF2-40B4-BE49-F238E27FC236}">
                <a16:creationId xmlns:a16="http://schemas.microsoft.com/office/drawing/2014/main" xmlns="" id="{9A6A98C5-EF76-47D1-B8CD-000197EBEEBF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677863" y="1689100"/>
            <a:ext cx="7843837" cy="3862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Company programs dedicated to retaining older workers often focus on providing mature staff with scheduling flexibility along with additional opportunities for engagement and training. </a:t>
            </a:r>
          </a:p>
          <a:p>
            <a:pPr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Some employers eager to hold on to older blue-collar staff pursued additional investments in automation and robotics to adapt work to mature workers facing physical limitations.</a:t>
            </a:r>
          </a:p>
          <a:p>
            <a:pPr>
              <a:spcBef>
                <a:spcPts val="1200"/>
              </a:spcBef>
            </a:pPr>
            <a:r>
              <a:rPr lang="en-US" altLang="en-US" dirty="0">
                <a:solidFill>
                  <a:srgbClr val="0070C0"/>
                </a:solidFill>
              </a:rPr>
              <a:t>Some companies that don’t have formalized programs for retiring older workers, use their white-collar retirees for consulting work on a case-by-case basis. </a:t>
            </a:r>
          </a:p>
          <a:p>
            <a:pPr>
              <a:spcBef>
                <a:spcPts val="1200"/>
              </a:spcBef>
            </a:pPr>
            <a:endParaRPr lang="en-US" alt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187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xmlns="" id="{78D30489-B907-4787-90E8-5E7A9161FB1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6276" y="1266773"/>
            <a:ext cx="8671448" cy="5003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336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966761604f95f8a1ad84fa6914aa58dd95b37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 Conference Board PowerPoint Template 2017">
  <a:themeElements>
    <a:clrScheme name="TCB Modified Grey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7_Default Design">
  <a:themeElements>
    <a:clrScheme name="PEPSICO 2015">
      <a:dk1>
        <a:sysClr val="windowText" lastClr="000000"/>
      </a:dk1>
      <a:lt1>
        <a:sysClr val="window" lastClr="FFFFFF"/>
      </a:lt1>
      <a:dk2>
        <a:srgbClr val="0070C0"/>
      </a:dk2>
      <a:lt2>
        <a:srgbClr val="EEECE1"/>
      </a:lt2>
      <a:accent1>
        <a:srgbClr val="009ADA"/>
      </a:accent1>
      <a:accent2>
        <a:srgbClr val="ED1B2E"/>
      </a:accent2>
      <a:accent3>
        <a:srgbClr val="009E58"/>
      </a:accent3>
      <a:accent4>
        <a:srgbClr val="800080"/>
      </a:accent4>
      <a:accent5>
        <a:srgbClr val="4BACC6"/>
      </a:accent5>
      <a:accent6>
        <a:srgbClr val="F47937"/>
      </a:accent6>
      <a:hlink>
        <a:srgbClr val="00529C"/>
      </a:hlink>
      <a:folHlink>
        <a:srgbClr val="A6A6A6"/>
      </a:folHlink>
    </a:clrScheme>
    <a:fontScheme name="4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4_Default Design 1">
        <a:dk1>
          <a:srgbClr val="1E1E1E"/>
        </a:dk1>
        <a:lt1>
          <a:srgbClr val="FFFFFF"/>
        </a:lt1>
        <a:dk2>
          <a:srgbClr val="96005A"/>
        </a:dk2>
        <a:lt2>
          <a:srgbClr val="0C2D83"/>
        </a:lt2>
        <a:accent1>
          <a:srgbClr val="FE5A17"/>
        </a:accent1>
        <a:accent2>
          <a:srgbClr val="008240"/>
        </a:accent2>
        <a:accent3>
          <a:srgbClr val="FFFFFF"/>
        </a:accent3>
        <a:accent4>
          <a:srgbClr val="181818"/>
        </a:accent4>
        <a:accent5>
          <a:srgbClr val="FEB5AB"/>
        </a:accent5>
        <a:accent6>
          <a:srgbClr val="007539"/>
        </a:accent6>
        <a:hlink>
          <a:srgbClr val="0189B4"/>
        </a:hlink>
        <a:folHlink>
          <a:srgbClr val="002C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_GE Crotonville_Course Presentation Slides Template_Oct 2014">
  <a:themeElements>
    <a:clrScheme name="GE 2014 V01 Interim 05 (probably final)">
      <a:dk1>
        <a:srgbClr val="575757"/>
      </a:dk1>
      <a:lt1>
        <a:sysClr val="window" lastClr="FFFFFF"/>
      </a:lt1>
      <a:dk2>
        <a:srgbClr val="005CB9"/>
      </a:dk2>
      <a:lt2>
        <a:srgbClr val="E9E9E9"/>
      </a:lt2>
      <a:accent1>
        <a:srgbClr val="3693F8"/>
      </a:accent1>
      <a:accent2>
        <a:srgbClr val="00366E"/>
      </a:accent2>
      <a:accent3>
        <a:srgbClr val="46AD00"/>
      </a:accent3>
      <a:accent4>
        <a:srgbClr val="1D5F11"/>
      </a:accent4>
      <a:accent5>
        <a:srgbClr val="FFCF45"/>
      </a:accent5>
      <a:accent6>
        <a:srgbClr val="841225"/>
      </a:accent6>
      <a:hlink>
        <a:srgbClr val="005CBA"/>
      </a:hlink>
      <a:folHlink>
        <a:srgbClr val="005CB9"/>
      </a:folHlink>
    </a:clrScheme>
    <a:fontScheme name="GE Inspira Pitch 2014">
      <a:majorFont>
        <a:latin typeface="GE Inspira Pitch"/>
        <a:ea typeface=""/>
        <a:cs typeface=""/>
      </a:majorFont>
      <a:minorFont>
        <a:latin typeface="GE Inspira Pitch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7_GE Crotonville_Course Presentation Slides Template_Oct 2014">
  <a:themeElements>
    <a:clrScheme name="GE 2014 V01 Interim 05 (probably final)">
      <a:dk1>
        <a:srgbClr val="575757"/>
      </a:dk1>
      <a:lt1>
        <a:sysClr val="window" lastClr="FFFFFF"/>
      </a:lt1>
      <a:dk2>
        <a:srgbClr val="005CB9"/>
      </a:dk2>
      <a:lt2>
        <a:srgbClr val="E9E9E9"/>
      </a:lt2>
      <a:accent1>
        <a:srgbClr val="3693F8"/>
      </a:accent1>
      <a:accent2>
        <a:srgbClr val="00366E"/>
      </a:accent2>
      <a:accent3>
        <a:srgbClr val="46AD00"/>
      </a:accent3>
      <a:accent4>
        <a:srgbClr val="1D5F11"/>
      </a:accent4>
      <a:accent5>
        <a:srgbClr val="FFCF45"/>
      </a:accent5>
      <a:accent6>
        <a:srgbClr val="841225"/>
      </a:accent6>
      <a:hlink>
        <a:srgbClr val="005CBA"/>
      </a:hlink>
      <a:folHlink>
        <a:srgbClr val="005CB9"/>
      </a:folHlink>
    </a:clrScheme>
    <a:fontScheme name="Custom 2">
      <a:majorFont>
        <a:latin typeface="GE Inspira Pitch"/>
        <a:ea typeface=""/>
        <a:cs typeface=""/>
      </a:majorFont>
      <a:minorFont>
        <a:latin typeface="GE Inspira Pitch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9_GE Crotonville_Course Presentation Slides Template_Oct 2014">
  <a:themeElements>
    <a:clrScheme name="GE 2014 V01 Interim 05 (probably final)">
      <a:dk1>
        <a:srgbClr val="575757"/>
      </a:dk1>
      <a:lt1>
        <a:sysClr val="window" lastClr="FFFFFF"/>
      </a:lt1>
      <a:dk2>
        <a:srgbClr val="005CB9"/>
      </a:dk2>
      <a:lt2>
        <a:srgbClr val="E9E9E9"/>
      </a:lt2>
      <a:accent1>
        <a:srgbClr val="3693F8"/>
      </a:accent1>
      <a:accent2>
        <a:srgbClr val="00366E"/>
      </a:accent2>
      <a:accent3>
        <a:srgbClr val="46AD00"/>
      </a:accent3>
      <a:accent4>
        <a:srgbClr val="1D5F11"/>
      </a:accent4>
      <a:accent5>
        <a:srgbClr val="FFCF45"/>
      </a:accent5>
      <a:accent6>
        <a:srgbClr val="841225"/>
      </a:accent6>
      <a:hlink>
        <a:srgbClr val="005CBA"/>
      </a:hlink>
      <a:folHlink>
        <a:srgbClr val="005CB9"/>
      </a:folHlink>
    </a:clrScheme>
    <a:fontScheme name="Custom 2">
      <a:majorFont>
        <a:latin typeface="GE Inspira Pitch"/>
        <a:ea typeface=""/>
        <a:cs typeface=""/>
      </a:majorFont>
      <a:minorFont>
        <a:latin typeface="GE Inspira Pitch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NLI Generic Theme">
  <a:themeElements>
    <a:clrScheme name="NLI Palette 2015">
      <a:dk1>
        <a:srgbClr val="5F6062"/>
      </a:dk1>
      <a:lt1>
        <a:srgbClr val="FFFFFF"/>
      </a:lt1>
      <a:dk2>
        <a:srgbClr val="A1A1A4"/>
      </a:dk2>
      <a:lt2>
        <a:srgbClr val="E6E6E6"/>
      </a:lt2>
      <a:accent1>
        <a:srgbClr val="0067B1"/>
      </a:accent1>
      <a:accent2>
        <a:srgbClr val="003E7E"/>
      </a:accent2>
      <a:accent3>
        <a:srgbClr val="FDDB00"/>
      </a:accent3>
      <a:accent4>
        <a:srgbClr val="F37322"/>
      </a:accent4>
      <a:accent5>
        <a:srgbClr val="107D34"/>
      </a:accent5>
      <a:accent6>
        <a:srgbClr val="E21F26"/>
      </a:accent6>
      <a:hlink>
        <a:srgbClr val="0096DE"/>
      </a:hlink>
      <a:folHlink>
        <a:srgbClr val="FCB31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numCol="1"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 numCol="1"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2_title slide">
  <a:themeElements>
    <a:clrScheme name="TCB Modified Grey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_The Conference Board PowerPoint Template 2017">
  <a:themeElements>
    <a:clrScheme name="TCB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A97E9CD8-CCAF-4ECB-B854-4AD98F810CE0}" vid="{BCCFCE03-394E-4A17-8D69-A3F97DC223F0}"/>
    </a:ext>
  </a:extLst>
</a:theme>
</file>

<file path=ppt/theme/theme18.xml><?xml version="1.0" encoding="utf-8"?>
<a:theme xmlns:a="http://schemas.openxmlformats.org/drawingml/2006/main" name="2_The Conference Board PowerPoint Template 2017">
  <a:themeElements>
    <a:clrScheme name="TCB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2" id="{40D53246-7012-42C9-B4CB-A869A6763AF0}" vid="{145AB3E0-3CB8-4412-8003-1A26476D5852}"/>
    </a:ext>
  </a:extLst>
</a:theme>
</file>

<file path=ppt/theme/theme19.xml><?xml version="1.0" encoding="utf-8"?>
<a:theme xmlns:a="http://schemas.openxmlformats.org/drawingml/2006/main" name="3_The Conference Board PowerPoint Template 2017">
  <a:themeElements>
    <a:clrScheme name="TCB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8B653E6E-0496-4CFE-BBEA-8424F56A786C}" vid="{605A99B3-747A-4709-9423-D7E7889E79CD}"/>
    </a:ext>
  </a:extLst>
</a:theme>
</file>

<file path=ppt/theme/theme2.xml><?xml version="1.0" encoding="utf-8"?>
<a:theme xmlns:a="http://schemas.openxmlformats.org/drawingml/2006/main" name="title slide">
  <a:themeElements>
    <a:clrScheme name="TCB Modified Grey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4_The Conference Board PowerPoint Template 2017">
  <a:themeElements>
    <a:clrScheme name="TCB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8B653E6E-0496-4CFE-BBEA-8424F56A786C}" vid="{605A99B3-747A-4709-9423-D7E7889E79CD}"/>
    </a:ext>
  </a:extLst>
</a:theme>
</file>

<file path=ppt/theme/theme21.xml><?xml version="1.0" encoding="utf-8"?>
<a:theme xmlns:a="http://schemas.openxmlformats.org/drawingml/2006/main" name="5_The Conference Board PowerPoint Template 2017">
  <a:themeElements>
    <a:clrScheme name="TCB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A97E9CD8-CCAF-4ECB-B854-4AD98F810CE0}" vid="{BCCFCE03-394E-4A17-8D69-A3F97DC223F0}"/>
    </a:ext>
  </a:extLst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CB bullet list slide">
  <a:themeElements>
    <a:clrScheme name="TCB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TCB POT TEMPLATE">
  <a:themeElements>
    <a:clrScheme name="TCB Modified Grey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595A5C"/>
          </a:solidFill>
          <a:miter lim="800000"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2_TCB bullet list slide">
  <a:themeElements>
    <a:clrScheme name="TCB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TCB bullet list slide">
  <a:themeElements>
    <a:clrScheme name="TCB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TCB bullet list slide">
  <a:themeElements>
    <a:clrScheme name="TCB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TCB bullet list slide">
  <a:themeElements>
    <a:clrScheme name="TCB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6_TCB bullet list slide">
  <a:themeElements>
    <a:clrScheme name="TCB Palette">
      <a:dk1>
        <a:srgbClr val="0072B5"/>
      </a:dk1>
      <a:lt1>
        <a:srgbClr val="FFFFFF"/>
      </a:lt1>
      <a:dk2>
        <a:srgbClr val="595A5C"/>
      </a:dk2>
      <a:lt2>
        <a:srgbClr val="D8D8D8"/>
      </a:lt2>
      <a:accent1>
        <a:srgbClr val="7FB539"/>
      </a:accent1>
      <a:accent2>
        <a:srgbClr val="D81249"/>
      </a:accent2>
      <a:accent3>
        <a:srgbClr val="A3238E"/>
      </a:accent3>
      <a:accent4>
        <a:srgbClr val="C74A1B"/>
      </a:accent4>
      <a:accent5>
        <a:srgbClr val="D6BE00"/>
      </a:accent5>
      <a:accent6>
        <a:srgbClr val="E8B909"/>
      </a:accent6>
      <a:hlink>
        <a:srgbClr val="0072B5"/>
      </a:hlink>
      <a:folHlink>
        <a:srgbClr val="00385A"/>
      </a:folHlink>
    </a:clrScheme>
    <a:fontScheme name="TCB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0B486D7BAE2145BBCF90492308A75A" ma:contentTypeVersion="13" ma:contentTypeDescription="Create a new document." ma:contentTypeScope="" ma:versionID="890ac9dc160992315caab76b5b0d205e">
  <xsd:schema xmlns:xsd="http://www.w3.org/2001/XMLSchema" xmlns:xs="http://www.w3.org/2001/XMLSchema" xmlns:p="http://schemas.microsoft.com/office/2006/metadata/properties" xmlns:ns3="35c0ea12-ee07-47a3-81f5-8a2a880214d3" xmlns:ns4="b88d6fa5-192d-4543-9604-59f33004091d" targetNamespace="http://schemas.microsoft.com/office/2006/metadata/properties" ma:root="true" ma:fieldsID="074feb7f2db3acdf5acc47859a696c47" ns3:_="" ns4:_="">
    <xsd:import namespace="35c0ea12-ee07-47a3-81f5-8a2a880214d3"/>
    <xsd:import namespace="b88d6fa5-192d-4543-9604-59f33004091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c0ea12-ee07-47a3-81f5-8a2a880214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8d6fa5-192d-4543-9604-59f33004091d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C893ED-EBE5-402B-A52D-1FA1935A1F95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office/2006/documentManagement/types"/>
    <ds:schemaRef ds:uri="b88d6fa5-192d-4543-9604-59f33004091d"/>
    <ds:schemaRef ds:uri="35c0ea12-ee07-47a3-81f5-8a2a880214d3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C88F4E6-DF3A-4762-BE7A-3B8387DA6D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c0ea12-ee07-47a3-81f5-8a2a880214d3"/>
    <ds:schemaRef ds:uri="b88d6fa5-192d-4543-9604-59f33004091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5F08625-5A46-4DBE-82DA-3D450F9AE67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he Conference Board PowerPoint Template 2017</Template>
  <TotalTime>1736</TotalTime>
  <Words>366</Words>
  <Application>Microsoft Office PowerPoint</Application>
  <PresentationFormat>On-screen Show (4:3)</PresentationFormat>
  <Paragraphs>40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36" baseType="lpstr">
      <vt:lpstr>Arial</vt:lpstr>
      <vt:lpstr>Wingdings</vt:lpstr>
      <vt:lpstr>MS PGothic</vt:lpstr>
      <vt:lpstr>GE Inspira Pitch</vt:lpstr>
      <vt:lpstr>굴림</vt:lpstr>
      <vt:lpstr>Calibri Light</vt:lpstr>
      <vt:lpstr>Calibri</vt:lpstr>
      <vt:lpstr>The Conference Board PowerPoint Template 2017</vt:lpstr>
      <vt:lpstr>title slide</vt:lpstr>
      <vt:lpstr>TCB bullet list slide</vt:lpstr>
      <vt:lpstr>2_TCB POT TEMPLATE</vt:lpstr>
      <vt:lpstr>2_TCB bullet list slide</vt:lpstr>
      <vt:lpstr>3_TCB bullet list slide</vt:lpstr>
      <vt:lpstr>4_TCB bullet list slide</vt:lpstr>
      <vt:lpstr>1_TCB bullet list slide</vt:lpstr>
      <vt:lpstr>6_TCB bullet list slide</vt:lpstr>
      <vt:lpstr>7_Default Design</vt:lpstr>
      <vt:lpstr>2_GE Crotonville_Course Presentation Slides Template_Oct 2014</vt:lpstr>
      <vt:lpstr>7_GE Crotonville_Course Presentation Slides Template_Oct 2014</vt:lpstr>
      <vt:lpstr>9_GE Crotonville_Course Presentation Slides Template_Oct 2014</vt:lpstr>
      <vt:lpstr>1_Custom Design</vt:lpstr>
      <vt:lpstr>NLI Generic Theme</vt:lpstr>
      <vt:lpstr>2_title slide</vt:lpstr>
      <vt:lpstr>1_The Conference Board PowerPoint Template 2017</vt:lpstr>
      <vt:lpstr>2_The Conference Board PowerPoint Template 2017</vt:lpstr>
      <vt:lpstr>3_The Conference Board PowerPoint Template 2017</vt:lpstr>
      <vt:lpstr>4_The Conference Board PowerPoint Template 2017</vt:lpstr>
      <vt:lpstr>5_The Conference Board PowerPoint Template 2017</vt:lpstr>
      <vt:lpstr>think-cell Slide</vt:lpstr>
      <vt:lpstr>Demand for older workers – NBER workshop</vt:lpstr>
      <vt:lpstr>PowerPoint Presentation</vt:lpstr>
      <vt:lpstr>Wages are accelerating, especially for new hires and for blue-collar and manual services occupations</vt:lpstr>
      <vt:lpstr>The share of mature workers in employment is increasing, especially in blue-collar occupations</vt:lpstr>
      <vt:lpstr>Delaying retirement beyond 65 is more difficult in physically demanding blue-collar job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Conference Board Economics Watch®</dc:title>
  <dc:creator>Kan, Michelle</dc:creator>
  <cp:lastModifiedBy>maranjian</cp:lastModifiedBy>
  <cp:revision>59</cp:revision>
  <cp:lastPrinted>2019-09-19T14:41:09Z</cp:lastPrinted>
  <dcterms:created xsi:type="dcterms:W3CDTF">2017-01-04T18:47:43Z</dcterms:created>
  <dcterms:modified xsi:type="dcterms:W3CDTF">2019-10-22T19:0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0B486D7BAE2145BBCF90492308A75A</vt:lpwstr>
  </property>
  <property fmtid="{D5CDD505-2E9C-101B-9397-08002B2CF9AE}" pid="3" name="_dlc_DocIdItemGuid">
    <vt:lpwstr>6d8f8ec0-f3b6-40f5-a267-6df5b35a083e</vt:lpwstr>
  </property>
  <property fmtid="{D5CDD505-2E9C-101B-9397-08002B2CF9AE}" pid="4" name="_dlc_DocId">
    <vt:lpwstr>TCB001-248-4554</vt:lpwstr>
  </property>
  <property fmtid="{D5CDD505-2E9C-101B-9397-08002B2CF9AE}" pid="5" name="_dlc_DocIdUrl">
    <vt:lpwstr>http://sharepoint.tcb.org/marketing/_layouts/15/DocIdRedir.aspx?ID=TCB001-248-4554, TCB001-248-4554</vt:lpwstr>
  </property>
  <property fmtid="{D5CDD505-2E9C-101B-9397-08002B2CF9AE}" pid="6" name="AuthorIds_UIVersion_8192">
    <vt:lpwstr>15</vt:lpwstr>
  </property>
</Properties>
</file>